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3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4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0" r:id="rId1"/>
    <p:sldMasterId id="2147483749" r:id="rId2"/>
  </p:sldMasterIdLst>
  <p:notesMasterIdLst>
    <p:notesMasterId r:id="rId38"/>
  </p:notesMasterIdLst>
  <p:handoutMasterIdLst>
    <p:handoutMasterId r:id="rId39"/>
  </p:handoutMasterIdLst>
  <p:sldIdLst>
    <p:sldId id="303" r:id="rId3"/>
    <p:sldId id="304" r:id="rId4"/>
    <p:sldId id="305" r:id="rId5"/>
    <p:sldId id="307" r:id="rId6"/>
    <p:sldId id="308" r:id="rId7"/>
    <p:sldId id="310" r:id="rId8"/>
    <p:sldId id="858" r:id="rId9"/>
    <p:sldId id="855" r:id="rId10"/>
    <p:sldId id="801" r:id="rId11"/>
    <p:sldId id="309" r:id="rId12"/>
    <p:sldId id="311" r:id="rId13"/>
    <p:sldId id="312" r:id="rId14"/>
    <p:sldId id="313" r:id="rId15"/>
    <p:sldId id="314" r:id="rId16"/>
    <p:sldId id="315" r:id="rId17"/>
    <p:sldId id="316" r:id="rId18"/>
    <p:sldId id="318" r:id="rId19"/>
    <p:sldId id="325" r:id="rId20"/>
    <p:sldId id="319" r:id="rId21"/>
    <p:sldId id="329" r:id="rId22"/>
    <p:sldId id="827" r:id="rId23"/>
    <p:sldId id="830" r:id="rId24"/>
    <p:sldId id="320" r:id="rId25"/>
    <p:sldId id="330" r:id="rId26"/>
    <p:sldId id="331" r:id="rId27"/>
    <p:sldId id="321" r:id="rId28"/>
    <p:sldId id="332" r:id="rId29"/>
    <p:sldId id="334" r:id="rId30"/>
    <p:sldId id="323" r:id="rId31"/>
    <p:sldId id="324" r:id="rId32"/>
    <p:sldId id="854" r:id="rId33"/>
    <p:sldId id="335" r:id="rId34"/>
    <p:sldId id="336" r:id="rId35"/>
    <p:sldId id="337" r:id="rId36"/>
    <p:sldId id="306" r:id="rId37"/>
  </p:sldIdLst>
  <p:sldSz cx="12069763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51" userDrawn="1">
          <p15:clr>
            <a:srgbClr val="A4A3A4"/>
          </p15:clr>
        </p15:guide>
        <p15:guide id="2" orient="horz" pos="778" userDrawn="1">
          <p15:clr>
            <a:srgbClr val="A4A3A4"/>
          </p15:clr>
        </p15:guide>
        <p15:guide id="3" pos="153">
          <p15:clr>
            <a:srgbClr val="A4A3A4"/>
          </p15:clr>
        </p15:guide>
        <p15:guide id="4" pos="7401">
          <p15:clr>
            <a:srgbClr val="A4A3A4"/>
          </p15:clr>
        </p15:guide>
        <p15:guide id="5" orient="horz" pos="2982" userDrawn="1">
          <p15:clr>
            <a:srgbClr val="A4A3A4"/>
          </p15:clr>
        </p15:guide>
        <p15:guide id="6" pos="624" userDrawn="1">
          <p15:clr>
            <a:srgbClr val="A4A3A4"/>
          </p15:clr>
        </p15:guide>
        <p15:guide id="7" orient="horz" pos="2160" userDrawn="1">
          <p15:clr>
            <a:srgbClr val="A4A3A4"/>
          </p15:clr>
        </p15:guide>
        <p15:guide id="8" orient="horz" pos="28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epak singh" initials="ds" lastIdx="1" clrIdx="0">
    <p:extLst>
      <p:ext uri="{19B8F6BF-5375-455C-9EA6-DF929625EA0E}">
        <p15:presenceInfo xmlns:p15="http://schemas.microsoft.com/office/powerpoint/2012/main" userId="dcf3b0667f8e85a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F2F8"/>
    <a:srgbClr val="D5E1EF"/>
    <a:srgbClr val="999999"/>
    <a:srgbClr val="FFFFFF"/>
    <a:srgbClr val="B9CDE5"/>
    <a:srgbClr val="DCE6F2"/>
    <a:srgbClr val="00B050"/>
    <a:srgbClr val="93C47D"/>
    <a:srgbClr val="ABABAB"/>
    <a:srgbClr val="71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324" autoAdjust="0"/>
    <p:restoredTop sz="94660"/>
  </p:normalViewPr>
  <p:slideViewPr>
    <p:cSldViewPr showGuides="1">
      <p:cViewPr>
        <p:scale>
          <a:sx n="66" d="100"/>
          <a:sy n="66" d="100"/>
        </p:scale>
        <p:origin x="1074" y="198"/>
      </p:cViewPr>
      <p:guideLst>
        <p:guide orient="horz" pos="3951"/>
        <p:guide orient="horz" pos="778"/>
        <p:guide pos="153"/>
        <p:guide pos="7401"/>
        <p:guide orient="horz" pos="2982"/>
        <p:guide pos="624"/>
        <p:guide orient="horz" pos="2160"/>
        <p:guide orient="horz" pos="283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3" d="80"/>
        <a:sy n="83" d="80"/>
      </p:scale>
      <p:origin x="0" y="0"/>
    </p:cViewPr>
  </p:sorterViewPr>
  <p:notesViewPr>
    <p:cSldViewPr>
      <p:cViewPr varScale="1">
        <p:scale>
          <a:sx n="55" d="100"/>
          <a:sy n="55" d="100"/>
        </p:scale>
        <p:origin x="2880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647250685203459E-2"/>
          <c:y val="0.1110100897260959"/>
          <c:w val="0.88541882159954632"/>
          <c:h val="0.58994024767250741"/>
        </c:manualLayout>
      </c:layou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General</c:formatCode>
                <c:ptCount val="3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941-4C38-820B-4E48CA645C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venu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#,##0</c:formatCode>
                <c:ptCount val="365"/>
                <c:pt idx="0">
                  <c:v>9553.9899999999925</c:v>
                </c:pt>
                <c:pt idx="1">
                  <c:v>6558.8999999999951</c:v>
                </c:pt>
                <c:pt idx="2">
                  <c:v>5754.8999999999896</c:v>
                </c:pt>
                <c:pt idx="3">
                  <c:v>4173.0599999999949</c:v>
                </c:pt>
                <c:pt idx="4">
                  <c:v>3007.0099999999984</c:v>
                </c:pt>
                <c:pt idx="5">
                  <c:v>2880.3800000000006</c:v>
                </c:pt>
                <c:pt idx="6">
                  <c:v>5346.3399999999929</c:v>
                </c:pt>
                <c:pt idx="7">
                  <c:v>8343.0099999999911</c:v>
                </c:pt>
                <c:pt idx="8">
                  <c:v>7722.8799999999956</c:v>
                </c:pt>
                <c:pt idx="9">
                  <c:v>4272.5299999999943</c:v>
                </c:pt>
                <c:pt idx="10">
                  <c:v>3459.8899999999958</c:v>
                </c:pt>
                <c:pt idx="11">
                  <c:v>4104.1699999999964</c:v>
                </c:pt>
                <c:pt idx="12">
                  <c:v>4336.0799999999945</c:v>
                </c:pt>
                <c:pt idx="13">
                  <c:v>5489.3499999999949</c:v>
                </c:pt>
                <c:pt idx="14">
                  <c:v>10728.109999999991</c:v>
                </c:pt>
                <c:pt idx="15">
                  <c:v>7610.1099999999942</c:v>
                </c:pt>
                <c:pt idx="16">
                  <c:v>5320.2599999999939</c:v>
                </c:pt>
                <c:pt idx="17">
                  <c:v>5713.9599999999955</c:v>
                </c:pt>
                <c:pt idx="18">
                  <c:v>6855.4999999999936</c:v>
                </c:pt>
                <c:pt idx="19">
                  <c:v>6414.6999999999889</c:v>
                </c:pt>
                <c:pt idx="20">
                  <c:v>5173.2399999999952</c:v>
                </c:pt>
                <c:pt idx="21">
                  <c:v>6166.2699999999959</c:v>
                </c:pt>
                <c:pt idx="22">
                  <c:v>3591.7899999999959</c:v>
                </c:pt>
                <c:pt idx="23">
                  <c:v>4921.1999999999953</c:v>
                </c:pt>
                <c:pt idx="24">
                  <c:v>3603.709999999995</c:v>
                </c:pt>
                <c:pt idx="25">
                  <c:v>3761.1599999999949</c:v>
                </c:pt>
                <c:pt idx="26">
                  <c:v>6132.4999999999936</c:v>
                </c:pt>
                <c:pt idx="27">
                  <c:v>5184.9199999999937</c:v>
                </c:pt>
                <c:pt idx="28">
                  <c:v>8794.1099999999933</c:v>
                </c:pt>
                <c:pt idx="29">
                  <c:v>6126.5299999999897</c:v>
                </c:pt>
                <c:pt idx="30">
                  <c:v>5910.229999999995</c:v>
                </c:pt>
                <c:pt idx="31">
                  <c:v>3572.1199999999953</c:v>
                </c:pt>
                <c:pt idx="32">
                  <c:v>4661.3299999999954</c:v>
                </c:pt>
                <c:pt idx="33">
                  <c:v>3160.0699999999952</c:v>
                </c:pt>
                <c:pt idx="34">
                  <c:v>5331.1099999999924</c:v>
                </c:pt>
                <c:pt idx="35">
                  <c:v>5444.0999999999913</c:v>
                </c:pt>
                <c:pt idx="36">
                  <c:v>6063.9599999999928</c:v>
                </c:pt>
                <c:pt idx="37">
                  <c:v>5061.5499999999929</c:v>
                </c:pt>
                <c:pt idx="38">
                  <c:v>3953.1499999999924</c:v>
                </c:pt>
                <c:pt idx="39">
                  <c:v>3590.4499999999971</c:v>
                </c:pt>
                <c:pt idx="40">
                  <c:v>4427.7499999999964</c:v>
                </c:pt>
                <c:pt idx="41">
                  <c:v>5241.0199999999959</c:v>
                </c:pt>
                <c:pt idx="42">
                  <c:v>6441.4999999999891</c:v>
                </c:pt>
                <c:pt idx="43">
                  <c:v>7238.8799999999901</c:v>
                </c:pt>
                <c:pt idx="44">
                  <c:v>5956.2999999999884</c:v>
                </c:pt>
                <c:pt idx="45">
                  <c:v>5277.6199999999953</c:v>
                </c:pt>
                <c:pt idx="46">
                  <c:v>4914.4899999999961</c:v>
                </c:pt>
                <c:pt idx="47">
                  <c:v>6242.6499999999915</c:v>
                </c:pt>
                <c:pt idx="48">
                  <c:v>6348.7799999999934</c:v>
                </c:pt>
                <c:pt idx="49">
                  <c:v>8849.6099999999897</c:v>
                </c:pt>
                <c:pt idx="50">
                  <c:v>5732.1899999999914</c:v>
                </c:pt>
                <c:pt idx="51">
                  <c:v>4849.9299999999912</c:v>
                </c:pt>
                <c:pt idx="52">
                  <c:v>4273.0399999999927</c:v>
                </c:pt>
                <c:pt idx="53">
                  <c:v>4806.5199999999932</c:v>
                </c:pt>
                <c:pt idx="54">
                  <c:v>6225.7499999999945</c:v>
                </c:pt>
                <c:pt idx="55">
                  <c:v>4705.3399999999947</c:v>
                </c:pt>
                <c:pt idx="56">
                  <c:v>11059.419999999986</c:v>
                </c:pt>
                <c:pt idx="57">
                  <c:v>5583.9399999999923</c:v>
                </c:pt>
                <c:pt idx="58">
                  <c:v>9041.2299999999941</c:v>
                </c:pt>
                <c:pt idx="59">
                  <c:v>6825.769999999995</c:v>
                </c:pt>
                <c:pt idx="60">
                  <c:v>7556.4799999999923</c:v>
                </c:pt>
                <c:pt idx="61">
                  <c:v>7524.2399999999898</c:v>
                </c:pt>
                <c:pt idx="62">
                  <c:v>7461.3099999999922</c:v>
                </c:pt>
                <c:pt idx="63">
                  <c:v>9442.809999999994</c:v>
                </c:pt>
                <c:pt idx="64">
                  <c:v>7187.8999999999905</c:v>
                </c:pt>
                <c:pt idx="65">
                  <c:v>5316.9199999999919</c:v>
                </c:pt>
                <c:pt idx="66">
                  <c:v>4640.2699999999968</c:v>
                </c:pt>
                <c:pt idx="67">
                  <c:v>7149.0199999999923</c:v>
                </c:pt>
                <c:pt idx="68">
                  <c:v>7935.5099999999911</c:v>
                </c:pt>
                <c:pt idx="69">
                  <c:v>8699.7299999999941</c:v>
                </c:pt>
                <c:pt idx="70">
                  <c:v>10205.19999999999</c:v>
                </c:pt>
                <c:pt idx="71">
                  <c:v>7214.0699999999906</c:v>
                </c:pt>
                <c:pt idx="72">
                  <c:v>4225.4599999999955</c:v>
                </c:pt>
                <c:pt idx="73">
                  <c:v>3802.9599999999959</c:v>
                </c:pt>
                <c:pt idx="74">
                  <c:v>4146.5499999999956</c:v>
                </c:pt>
                <c:pt idx="75">
                  <c:v>4958.1799999999967</c:v>
                </c:pt>
                <c:pt idx="76">
                  <c:v>10733.599999999986</c:v>
                </c:pt>
                <c:pt idx="77">
                  <c:v>9536.6699999999928</c:v>
                </c:pt>
                <c:pt idx="78">
                  <c:v>7645.2599999999875</c:v>
                </c:pt>
                <c:pt idx="79">
                  <c:v>5570.799999999992</c:v>
                </c:pt>
                <c:pt idx="80">
                  <c:v>3925.9699999999962</c:v>
                </c:pt>
                <c:pt idx="81">
                  <c:v>8009.5599999999968</c:v>
                </c:pt>
                <c:pt idx="82">
                  <c:v>5886.1599999999944</c:v>
                </c:pt>
                <c:pt idx="83">
                  <c:v>8561.0799999999927</c:v>
                </c:pt>
                <c:pt idx="84">
                  <c:v>9139.9899999999907</c:v>
                </c:pt>
                <c:pt idx="85">
                  <c:v>6949.1899999999914</c:v>
                </c:pt>
                <c:pt idx="86">
                  <c:v>5030.0299999999916</c:v>
                </c:pt>
                <c:pt idx="87">
                  <c:v>4242.5599999999977</c:v>
                </c:pt>
                <c:pt idx="88">
                  <c:v>6939.1199999999899</c:v>
                </c:pt>
                <c:pt idx="89">
                  <c:v>6156.2799999999934</c:v>
                </c:pt>
                <c:pt idx="90">
                  <c:v>7427.9599999999946</c:v>
                </c:pt>
                <c:pt idx="91">
                  <c:v>8939.5099999999929</c:v>
                </c:pt>
                <c:pt idx="92">
                  <c:v>7128.7599999999902</c:v>
                </c:pt>
                <c:pt idx="93">
                  <c:v>7305.799999999992</c:v>
                </c:pt>
                <c:pt idx="94">
                  <c:v>7749.0499999999902</c:v>
                </c:pt>
                <c:pt idx="95">
                  <c:v>6577.5999999999913</c:v>
                </c:pt>
                <c:pt idx="96">
                  <c:v>6661.3199999999906</c:v>
                </c:pt>
                <c:pt idx="97">
                  <c:v>6679.3099999999931</c:v>
                </c:pt>
                <c:pt idx="98">
                  <c:v>10595.819999999994</c:v>
                </c:pt>
                <c:pt idx="99">
                  <c:v>7047.639999999994</c:v>
                </c:pt>
                <c:pt idx="100">
                  <c:v>5613.1099999999933</c:v>
                </c:pt>
                <c:pt idx="101">
                  <c:v>6013.6599999999917</c:v>
                </c:pt>
                <c:pt idx="102">
                  <c:v>6027.1099999999933</c:v>
                </c:pt>
                <c:pt idx="103">
                  <c:v>7572.1099999999915</c:v>
                </c:pt>
                <c:pt idx="104">
                  <c:v>6997.5399999999918</c:v>
                </c:pt>
                <c:pt idx="105">
                  <c:v>10849.769999999988</c:v>
                </c:pt>
                <c:pt idx="106">
                  <c:v>7823.20999999999</c:v>
                </c:pt>
                <c:pt idx="107">
                  <c:v>5461.4299999999921</c:v>
                </c:pt>
                <c:pt idx="108">
                  <c:v>4368.6599999999944</c:v>
                </c:pt>
                <c:pt idx="109">
                  <c:v>5443.7899999999927</c:v>
                </c:pt>
                <c:pt idx="110">
                  <c:v>6162.1599999999953</c:v>
                </c:pt>
                <c:pt idx="111">
                  <c:v>10815.949999999986</c:v>
                </c:pt>
                <c:pt idx="112">
                  <c:v>11025.999999999995</c:v>
                </c:pt>
                <c:pt idx="113">
                  <c:v>6992.5899999999947</c:v>
                </c:pt>
                <c:pt idx="114">
                  <c:v>8896.6499999999942</c:v>
                </c:pt>
                <c:pt idx="115">
                  <c:v>5680.2399999999934</c:v>
                </c:pt>
                <c:pt idx="116">
                  <c:v>8777.3199999999943</c:v>
                </c:pt>
                <c:pt idx="117">
                  <c:v>11511.569999999983</c:v>
                </c:pt>
                <c:pt idx="118">
                  <c:v>9963.9999999999891</c:v>
                </c:pt>
                <c:pt idx="119">
                  <c:v>14548.649999999987</c:v>
                </c:pt>
                <c:pt idx="120">
                  <c:v>11971.739999999989</c:v>
                </c:pt>
                <c:pt idx="121">
                  <c:v>12041.729999999989</c:v>
                </c:pt>
                <c:pt idx="122">
                  <c:v>7616.9599999999919</c:v>
                </c:pt>
                <c:pt idx="123">
                  <c:v>11562.979999999987</c:v>
                </c:pt>
                <c:pt idx="124">
                  <c:v>11288.189999999988</c:v>
                </c:pt>
                <c:pt idx="125">
                  <c:v>12098.429999999984</c:v>
                </c:pt>
                <c:pt idx="126">
                  <c:v>12157.659999999987</c:v>
                </c:pt>
                <c:pt idx="127">
                  <c:v>13970.609999999984</c:v>
                </c:pt>
                <c:pt idx="128">
                  <c:v>11873.209999999986</c:v>
                </c:pt>
                <c:pt idx="129">
                  <c:v>7726.3999999999933</c:v>
                </c:pt>
                <c:pt idx="130">
                  <c:v>9998.1499999999905</c:v>
                </c:pt>
                <c:pt idx="131">
                  <c:v>10927.849999999989</c:v>
                </c:pt>
                <c:pt idx="132">
                  <c:v>9976.049999999992</c:v>
                </c:pt>
                <c:pt idx="133">
                  <c:v>14030.559999999992</c:v>
                </c:pt>
                <c:pt idx="134">
                  <c:v>14878.759999999984</c:v>
                </c:pt>
                <c:pt idx="135">
                  <c:v>9247.5599999999922</c:v>
                </c:pt>
                <c:pt idx="136">
                  <c:v>14479.839999999984</c:v>
                </c:pt>
                <c:pt idx="137">
                  <c:v>11443.449999999988</c:v>
                </c:pt>
                <c:pt idx="138">
                  <c:v>9683.0399999999918</c:v>
                </c:pt>
                <c:pt idx="139">
                  <c:v>11252.949999999992</c:v>
                </c:pt>
                <c:pt idx="140">
                  <c:v>17136.029999999992</c:v>
                </c:pt>
                <c:pt idx="141">
                  <c:v>12829.739999999983</c:v>
                </c:pt>
                <c:pt idx="142">
                  <c:v>9539.5599999999886</c:v>
                </c:pt>
                <c:pt idx="143">
                  <c:v>8074.6999999999889</c:v>
                </c:pt>
                <c:pt idx="144">
                  <c:v>9124.0399999999918</c:v>
                </c:pt>
                <c:pt idx="145">
                  <c:v>7920.8799999999919</c:v>
                </c:pt>
                <c:pt idx="146">
                  <c:v>11071.809999999989</c:v>
                </c:pt>
                <c:pt idx="147">
                  <c:v>16215.109999999988</c:v>
                </c:pt>
                <c:pt idx="148">
                  <c:v>15085.15999999998</c:v>
                </c:pt>
                <c:pt idx="149">
                  <c:v>10344.379999999986</c:v>
                </c:pt>
                <c:pt idx="150">
                  <c:v>12078.339999999984</c:v>
                </c:pt>
                <c:pt idx="151">
                  <c:v>13787.749999999989</c:v>
                </c:pt>
                <c:pt idx="152">
                  <c:v>13043.50999999998</c:v>
                </c:pt>
                <c:pt idx="153">
                  <c:v>15269.319999999989</c:v>
                </c:pt>
                <c:pt idx="154">
                  <c:v>14707.149999999994</c:v>
                </c:pt>
                <c:pt idx="155">
                  <c:v>12823.43999999999</c:v>
                </c:pt>
                <c:pt idx="156">
                  <c:v>12296.259999999982</c:v>
                </c:pt>
                <c:pt idx="157">
                  <c:v>8532.3499999999913</c:v>
                </c:pt>
                <c:pt idx="158">
                  <c:v>15376.109999999984</c:v>
                </c:pt>
                <c:pt idx="159">
                  <c:v>11615.479999999983</c:v>
                </c:pt>
                <c:pt idx="160">
                  <c:v>11510.449999999983</c:v>
                </c:pt>
                <c:pt idx="161">
                  <c:v>18451.449999999993</c:v>
                </c:pt>
                <c:pt idx="162">
                  <c:v>11052.539999999981</c:v>
                </c:pt>
                <c:pt idx="163">
                  <c:v>8579.5399999999881</c:v>
                </c:pt>
                <c:pt idx="164">
                  <c:v>10632.889999999983</c:v>
                </c:pt>
                <c:pt idx="165">
                  <c:v>15741.639999999985</c:v>
                </c:pt>
                <c:pt idx="166">
                  <c:v>30816.510000000017</c:v>
                </c:pt>
                <c:pt idx="167">
                  <c:v>25301.340000000018</c:v>
                </c:pt>
                <c:pt idx="168">
                  <c:v>24682.640000000029</c:v>
                </c:pt>
                <c:pt idx="169">
                  <c:v>22510.200000000012</c:v>
                </c:pt>
                <c:pt idx="170">
                  <c:v>19743.220000000008</c:v>
                </c:pt>
                <c:pt idx="171">
                  <c:v>13725.699999999981</c:v>
                </c:pt>
                <c:pt idx="172">
                  <c:v>12943.01999999997</c:v>
                </c:pt>
                <c:pt idx="173">
                  <c:v>15952.189999999991</c:v>
                </c:pt>
                <c:pt idx="174">
                  <c:v>18648.799999999996</c:v>
                </c:pt>
                <c:pt idx="175">
                  <c:v>20721.190000000017</c:v>
                </c:pt>
                <c:pt idx="176">
                  <c:v>13892.819999999991</c:v>
                </c:pt>
                <c:pt idx="177">
                  <c:v>16570.159999999985</c:v>
                </c:pt>
                <c:pt idx="178">
                  <c:v>15224.509999999986</c:v>
                </c:pt>
                <c:pt idx="179">
                  <c:v>18051.609999999997</c:v>
                </c:pt>
                <c:pt idx="180">
                  <c:v>17641.539999999997</c:v>
                </c:pt>
                <c:pt idx="181">
                  <c:v>25451.570000000011</c:v>
                </c:pt>
                <c:pt idx="182">
                  <c:v>29710.340000000026</c:v>
                </c:pt>
                <c:pt idx="183">
                  <c:v>22539.750000000011</c:v>
                </c:pt>
                <c:pt idx="184">
                  <c:v>18018.349999999988</c:v>
                </c:pt>
                <c:pt idx="185">
                  <c:v>21809.510000000024</c:v>
                </c:pt>
                <c:pt idx="186">
                  <c:v>14724.849999999984</c:v>
                </c:pt>
                <c:pt idx="187">
                  <c:v>14349.189999999995</c:v>
                </c:pt>
                <c:pt idx="188">
                  <c:v>15468.109999999981</c:v>
                </c:pt>
                <c:pt idx="189">
                  <c:v>25498.76000000002</c:v>
                </c:pt>
                <c:pt idx="190">
                  <c:v>21500.80000000001</c:v>
                </c:pt>
                <c:pt idx="191">
                  <c:v>19141.400000000001</c:v>
                </c:pt>
                <c:pt idx="192">
                  <c:v>14693.769999999977</c:v>
                </c:pt>
                <c:pt idx="193">
                  <c:v>15824.469999999981</c:v>
                </c:pt>
                <c:pt idx="194">
                  <c:v>23377.040000000012</c:v>
                </c:pt>
                <c:pt idx="195">
                  <c:v>20800.230000000007</c:v>
                </c:pt>
                <c:pt idx="196">
                  <c:v>30513.610000000011</c:v>
                </c:pt>
                <c:pt idx="197">
                  <c:v>23393.600000000017</c:v>
                </c:pt>
                <c:pt idx="198">
                  <c:v>20784.440000000006</c:v>
                </c:pt>
                <c:pt idx="199">
                  <c:v>16972.799999999985</c:v>
                </c:pt>
                <c:pt idx="200">
                  <c:v>22689.940000000021</c:v>
                </c:pt>
                <c:pt idx="201">
                  <c:v>20293.120000000014</c:v>
                </c:pt>
                <c:pt idx="202">
                  <c:v>21950.720000000012</c:v>
                </c:pt>
                <c:pt idx="203">
                  <c:v>28476.970000000041</c:v>
                </c:pt>
                <c:pt idx="204">
                  <c:v>18025.629999999986</c:v>
                </c:pt>
                <c:pt idx="205">
                  <c:v>12505.109999999984</c:v>
                </c:pt>
                <c:pt idx="206">
                  <c:v>16287.729999999987</c:v>
                </c:pt>
                <c:pt idx="207">
                  <c:v>15387.749999999991</c:v>
                </c:pt>
                <c:pt idx="208">
                  <c:v>19158.840000000011</c:v>
                </c:pt>
                <c:pt idx="209">
                  <c:v>22322.280000000028</c:v>
                </c:pt>
                <c:pt idx="210">
                  <c:v>18541.569999999989</c:v>
                </c:pt>
                <c:pt idx="211">
                  <c:v>16218.049999999981</c:v>
                </c:pt>
                <c:pt idx="212">
                  <c:v>16207.359999999988</c:v>
                </c:pt>
                <c:pt idx="213">
                  <c:v>13352.119999999984</c:v>
                </c:pt>
                <c:pt idx="214">
                  <c:v>15703.029999999979</c:v>
                </c:pt>
                <c:pt idx="215">
                  <c:v>18854.239999999983</c:v>
                </c:pt>
                <c:pt idx="216">
                  <c:v>18342.989999999994</c:v>
                </c:pt>
                <c:pt idx="217">
                  <c:v>26831.10000000002</c:v>
                </c:pt>
                <c:pt idx="218">
                  <c:v>19503.749999999989</c:v>
                </c:pt>
                <c:pt idx="219">
                  <c:v>14976.549999999977</c:v>
                </c:pt>
                <c:pt idx="220">
                  <c:v>13064.679999999978</c:v>
                </c:pt>
                <c:pt idx="221">
                  <c:v>19057.860000000004</c:v>
                </c:pt>
                <c:pt idx="222">
                  <c:v>23385.610000000015</c:v>
                </c:pt>
                <c:pt idx="223">
                  <c:v>24295.070000000029</c:v>
                </c:pt>
                <c:pt idx="224">
                  <c:v>21235.470000000016</c:v>
                </c:pt>
                <c:pt idx="225">
                  <c:v>19302.589999999989</c:v>
                </c:pt>
                <c:pt idx="226">
                  <c:v>16186.01999999999</c:v>
                </c:pt>
                <c:pt idx="227">
                  <c:v>16536.409999999989</c:v>
                </c:pt>
                <c:pt idx="228">
                  <c:v>17445.939999999988</c:v>
                </c:pt>
                <c:pt idx="229">
                  <c:v>18487.339999999997</c:v>
                </c:pt>
                <c:pt idx="230">
                  <c:v>19963.250000000025</c:v>
                </c:pt>
                <c:pt idx="231">
                  <c:v>25916.130000000034</c:v>
                </c:pt>
                <c:pt idx="232">
                  <c:v>17618.899999999994</c:v>
                </c:pt>
                <c:pt idx="233">
                  <c:v>17006.059999999983</c:v>
                </c:pt>
                <c:pt idx="234">
                  <c:v>15136.199999999975</c:v>
                </c:pt>
                <c:pt idx="235">
                  <c:v>17966.30999999999</c:v>
                </c:pt>
                <c:pt idx="236">
                  <c:v>16495.789999999979</c:v>
                </c:pt>
                <c:pt idx="237">
                  <c:v>19567.490000000013</c:v>
                </c:pt>
                <c:pt idx="238">
                  <c:v>24751.590000000015</c:v>
                </c:pt>
                <c:pt idx="239">
                  <c:v>19246.57</c:v>
                </c:pt>
                <c:pt idx="240">
                  <c:v>17092.169999999991</c:v>
                </c:pt>
                <c:pt idx="241">
                  <c:v>15091.969999999981</c:v>
                </c:pt>
                <c:pt idx="242">
                  <c:v>20334.770000000022</c:v>
                </c:pt>
                <c:pt idx="243">
                  <c:v>20646.110000000011</c:v>
                </c:pt>
                <c:pt idx="244">
                  <c:v>22282.660000000047</c:v>
                </c:pt>
                <c:pt idx="245">
                  <c:v>26604.730000000036</c:v>
                </c:pt>
                <c:pt idx="246">
                  <c:v>17848.709999999988</c:v>
                </c:pt>
                <c:pt idx="247">
                  <c:v>14695.839999999986</c:v>
                </c:pt>
                <c:pt idx="248">
                  <c:v>18310.089999999997</c:v>
                </c:pt>
                <c:pt idx="249">
                  <c:v>17174.019999999979</c:v>
                </c:pt>
                <c:pt idx="250">
                  <c:v>17255.899999999994</c:v>
                </c:pt>
                <c:pt idx="251">
                  <c:v>20511.210000000014</c:v>
                </c:pt>
                <c:pt idx="252">
                  <c:v>24431.850000000042</c:v>
                </c:pt>
                <c:pt idx="253">
                  <c:v>22149.930000000018</c:v>
                </c:pt>
                <c:pt idx="254">
                  <c:v>22064.970000000016</c:v>
                </c:pt>
                <c:pt idx="255">
                  <c:v>21948.140000000029</c:v>
                </c:pt>
                <c:pt idx="256">
                  <c:v>22564.160000000014</c:v>
                </c:pt>
                <c:pt idx="257">
                  <c:v>21483.510000000028</c:v>
                </c:pt>
                <c:pt idx="258">
                  <c:v>21666.980000000014</c:v>
                </c:pt>
                <c:pt idx="259">
                  <c:v>27972.890000000029</c:v>
                </c:pt>
                <c:pt idx="260">
                  <c:v>21367.580000000027</c:v>
                </c:pt>
                <c:pt idx="261">
                  <c:v>19303.669999999995</c:v>
                </c:pt>
                <c:pt idx="262">
                  <c:v>18706.049999999988</c:v>
                </c:pt>
                <c:pt idx="263">
                  <c:v>21513.000000000036</c:v>
                </c:pt>
                <c:pt idx="264">
                  <c:v>19807.180000000004</c:v>
                </c:pt>
                <c:pt idx="265">
                  <c:v>23613.530000000021</c:v>
                </c:pt>
                <c:pt idx="266">
                  <c:v>33043.950000000033</c:v>
                </c:pt>
                <c:pt idx="267">
                  <c:v>23619.360000000019</c:v>
                </c:pt>
                <c:pt idx="268">
                  <c:v>21071.880000000016</c:v>
                </c:pt>
                <c:pt idx="269">
                  <c:v>21298.960000000014</c:v>
                </c:pt>
                <c:pt idx="270">
                  <c:v>23784.800000000025</c:v>
                </c:pt>
                <c:pt idx="271">
                  <c:v>18618.250000000007</c:v>
                </c:pt>
                <c:pt idx="272">
                  <c:v>26046.710000000028</c:v>
                </c:pt>
                <c:pt idx="273">
                  <c:v>26065.360000000015</c:v>
                </c:pt>
                <c:pt idx="274">
                  <c:v>27451.470000000038</c:v>
                </c:pt>
                <c:pt idx="275">
                  <c:v>20725.87000000001</c:v>
                </c:pt>
                <c:pt idx="276">
                  <c:v>22404.760000000031</c:v>
                </c:pt>
                <c:pt idx="277">
                  <c:v>21278.35000000002</c:v>
                </c:pt>
                <c:pt idx="278">
                  <c:v>23306.640000000021</c:v>
                </c:pt>
                <c:pt idx="279">
                  <c:v>24681.40000000002</c:v>
                </c:pt>
                <c:pt idx="280">
                  <c:v>24393.450000000033</c:v>
                </c:pt>
                <c:pt idx="281">
                  <c:v>20234.260000000009</c:v>
                </c:pt>
                <c:pt idx="282">
                  <c:v>20213.310000000023</c:v>
                </c:pt>
                <c:pt idx="283">
                  <c:v>18677.739999999983</c:v>
                </c:pt>
                <c:pt idx="284">
                  <c:v>19163.720000000012</c:v>
                </c:pt>
                <c:pt idx="285">
                  <c:v>18602.759999999995</c:v>
                </c:pt>
                <c:pt idx="286">
                  <c:v>20699.050000000021</c:v>
                </c:pt>
                <c:pt idx="287">
                  <c:v>32820.28000000005</c:v>
                </c:pt>
                <c:pt idx="288">
                  <c:v>23392.790000000012</c:v>
                </c:pt>
                <c:pt idx="289">
                  <c:v>20404.270000000033</c:v>
                </c:pt>
                <c:pt idx="290">
                  <c:v>18973.450000000008</c:v>
                </c:pt>
                <c:pt idx="291">
                  <c:v>23156.780000000053</c:v>
                </c:pt>
                <c:pt idx="292">
                  <c:v>16434.249999999975</c:v>
                </c:pt>
                <c:pt idx="293">
                  <c:v>20984.74000000002</c:v>
                </c:pt>
                <c:pt idx="294">
                  <c:v>20250.670000000013</c:v>
                </c:pt>
                <c:pt idx="295">
                  <c:v>23857.890000000036</c:v>
                </c:pt>
                <c:pt idx="296">
                  <c:v>18869.239999999987</c:v>
                </c:pt>
                <c:pt idx="297">
                  <c:v>16469.839999999989</c:v>
                </c:pt>
                <c:pt idx="298">
                  <c:v>16754.54999999997</c:v>
                </c:pt>
                <c:pt idx="299">
                  <c:v>15074.559999999974</c:v>
                </c:pt>
                <c:pt idx="300">
                  <c:v>19277.339999999997</c:v>
                </c:pt>
                <c:pt idx="301">
                  <c:v>22356.74000000002</c:v>
                </c:pt>
                <c:pt idx="302">
                  <c:v>22083.070000000022</c:v>
                </c:pt>
                <c:pt idx="303">
                  <c:v>18770.050000000007</c:v>
                </c:pt>
                <c:pt idx="304">
                  <c:v>19046.910000000011</c:v>
                </c:pt>
                <c:pt idx="305">
                  <c:v>23670.529999999992</c:v>
                </c:pt>
                <c:pt idx="306">
                  <c:v>21430.930000000015</c:v>
                </c:pt>
                <c:pt idx="307">
                  <c:v>20843.990000000016</c:v>
                </c:pt>
                <c:pt idx="308">
                  <c:v>26004.740000000023</c:v>
                </c:pt>
                <c:pt idx="309">
                  <c:v>23312.130000000026</c:v>
                </c:pt>
                <c:pt idx="310">
                  <c:v>20079.830000000009</c:v>
                </c:pt>
                <c:pt idx="311">
                  <c:v>20362.560000000023</c:v>
                </c:pt>
                <c:pt idx="312">
                  <c:v>17723.35999999999</c:v>
                </c:pt>
                <c:pt idx="313">
                  <c:v>15622.499999999975</c:v>
                </c:pt>
                <c:pt idx="314">
                  <c:v>21139.770000000019</c:v>
                </c:pt>
                <c:pt idx="315">
                  <c:v>27717.830000000031</c:v>
                </c:pt>
                <c:pt idx="316">
                  <c:v>18406.399999999991</c:v>
                </c:pt>
                <c:pt idx="317">
                  <c:v>16092.339999999971</c:v>
                </c:pt>
                <c:pt idx="318">
                  <c:v>17337.649999999983</c:v>
                </c:pt>
                <c:pt idx="319">
                  <c:v>20213.450000000019</c:v>
                </c:pt>
                <c:pt idx="320">
                  <c:v>20013.860000000022</c:v>
                </c:pt>
                <c:pt idx="321">
                  <c:v>21275.780000000013</c:v>
                </c:pt>
                <c:pt idx="322">
                  <c:v>24354.150000000016</c:v>
                </c:pt>
                <c:pt idx="323">
                  <c:v>25860.850000000017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0000000027</c:v>
                </c:pt>
                <c:pt idx="327">
                  <c:v>20972.440000000017</c:v>
                </c:pt>
                <c:pt idx="328">
                  <c:v>22306.850000000035</c:v>
                </c:pt>
                <c:pt idx="329">
                  <c:v>25349.02000000003</c:v>
                </c:pt>
                <c:pt idx="330">
                  <c:v>22696.12</c:v>
                </c:pt>
                <c:pt idx="331">
                  <c:v>15978.08999999998</c:v>
                </c:pt>
                <c:pt idx="332">
                  <c:v>17436.459999999988</c:v>
                </c:pt>
                <c:pt idx="333">
                  <c:v>16321.839999999975</c:v>
                </c:pt>
                <c:pt idx="334">
                  <c:v>20305.000000000022</c:v>
                </c:pt>
                <c:pt idx="335">
                  <c:v>25578.170000000038</c:v>
                </c:pt>
                <c:pt idx="336">
                  <c:v>29145.130000000034</c:v>
                </c:pt>
                <c:pt idx="337">
                  <c:v>27869.580000000031</c:v>
                </c:pt>
                <c:pt idx="338">
                  <c:v>24449.550000000021</c:v>
                </c:pt>
                <c:pt idx="339">
                  <c:v>17599.579999999976</c:v>
                </c:pt>
                <c:pt idx="340">
                  <c:v>18018.459999999974</c:v>
                </c:pt>
                <c:pt idx="341">
                  <c:v>17586.68</c:v>
                </c:pt>
                <c:pt idx="342">
                  <c:v>23905.110000000041</c:v>
                </c:pt>
                <c:pt idx="343">
                  <c:v>24258.470000000038</c:v>
                </c:pt>
                <c:pt idx="344">
                  <c:v>25037.270000000026</c:v>
                </c:pt>
                <c:pt idx="345">
                  <c:v>20716.810000000005</c:v>
                </c:pt>
                <c:pt idx="346">
                  <c:v>16930.369999999984</c:v>
                </c:pt>
                <c:pt idx="347">
                  <c:v>17308.779999999977</c:v>
                </c:pt>
                <c:pt idx="348">
                  <c:v>20118.870000000021</c:v>
                </c:pt>
                <c:pt idx="349">
                  <c:v>24932.310000000019</c:v>
                </c:pt>
                <c:pt idx="350">
                  <c:v>28770.420000000042</c:v>
                </c:pt>
                <c:pt idx="351">
                  <c:v>25351.010000000006</c:v>
                </c:pt>
                <c:pt idx="352">
                  <c:v>20215.960000000036</c:v>
                </c:pt>
                <c:pt idx="353">
                  <c:v>17363.349999999988</c:v>
                </c:pt>
                <c:pt idx="354">
                  <c:v>19548.540000000005</c:v>
                </c:pt>
                <c:pt idx="355">
                  <c:v>17682.329999999994</c:v>
                </c:pt>
                <c:pt idx="356">
                  <c:v>18745.330000000005</c:v>
                </c:pt>
                <c:pt idx="357">
                  <c:v>29639.220000000041</c:v>
                </c:pt>
                <c:pt idx="358">
                  <c:v>25426.93000000004</c:v>
                </c:pt>
                <c:pt idx="359">
                  <c:v>20853.220000000012</c:v>
                </c:pt>
                <c:pt idx="360">
                  <c:v>18639.729999999985</c:v>
                </c:pt>
                <c:pt idx="361">
                  <c:v>19712.140000000021</c:v>
                </c:pt>
                <c:pt idx="362">
                  <c:v>17940.459999999988</c:v>
                </c:pt>
                <c:pt idx="363">
                  <c:v>20797.710000000006</c:v>
                </c:pt>
                <c:pt idx="364">
                  <c:v>27055.760000000028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B941-4C38-820B-4E48CA645C2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D$2:$D$366</c:f>
              <c:numCache>
                <c:formatCode>General</c:formatCode>
                <c:ptCount val="36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941-4C38-820B-4E48CA645C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45048623"/>
        <c:axId val="1845051535"/>
      </c:lineChart>
      <c:dateAx>
        <c:axId val="-955199408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 val="autoZero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Revenue (in USD)</a:t>
                </a:r>
                <a:endParaRPr lang="en-IN" b="1"/>
              </a:p>
            </c:rich>
          </c:tx>
          <c:layout>
            <c:manualLayout>
              <c:xMode val="edge"/>
              <c:yMode val="edge"/>
              <c:x val="1.7067833942136307E-2"/>
              <c:y val="0.214663826403764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1845051535"/>
        <c:scaling>
          <c:orientation val="minMax"/>
        </c:scaling>
        <c:delete val="1"/>
        <c:axPos val="r"/>
        <c:numFmt formatCode="#,##0" sourceLinked="1"/>
        <c:majorTickMark val="out"/>
        <c:minorTickMark val="none"/>
        <c:tickLblPos val="nextTo"/>
        <c:crossAx val="1845048623"/>
        <c:crosses val="max"/>
        <c:crossBetween val="between"/>
        <c:dispUnits>
          <c:builtInUnit val="thousands"/>
        </c:dispUnits>
      </c:valAx>
      <c:dateAx>
        <c:axId val="1845048623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45051535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egendEntry>
        <c:idx val="2"/>
        <c:delete val="1"/>
      </c:legendEntry>
      <c:layout>
        <c:manualLayout>
          <c:xMode val="edge"/>
          <c:yMode val="edge"/>
          <c:x val="0.46066994697430902"/>
          <c:y val="0.89640992560702837"/>
          <c:w val="7.8660106051381823E-2"/>
          <c:h val="6.44093085870944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017308415903675E-2"/>
          <c:y val="8.7016697613549937E-2"/>
          <c:w val="0.9719653831681927"/>
          <c:h val="0.30386641909160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n-Social Video Impression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General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7602</c:v>
                </c:pt>
                <c:pt idx="229">
                  <c:v>19843</c:v>
                </c:pt>
                <c:pt idx="230">
                  <c:v>20145</c:v>
                </c:pt>
                <c:pt idx="231">
                  <c:v>22796</c:v>
                </c:pt>
                <c:pt idx="232">
                  <c:v>22168</c:v>
                </c:pt>
                <c:pt idx="233">
                  <c:v>21207</c:v>
                </c:pt>
                <c:pt idx="234">
                  <c:v>10824</c:v>
                </c:pt>
                <c:pt idx="235">
                  <c:v>1202</c:v>
                </c:pt>
                <c:pt idx="236">
                  <c:v>579</c:v>
                </c:pt>
                <c:pt idx="237">
                  <c:v>1575</c:v>
                </c:pt>
                <c:pt idx="238">
                  <c:v>717</c:v>
                </c:pt>
                <c:pt idx="239">
                  <c:v>402</c:v>
                </c:pt>
                <c:pt idx="240">
                  <c:v>461</c:v>
                </c:pt>
                <c:pt idx="241">
                  <c:v>2750</c:v>
                </c:pt>
                <c:pt idx="242">
                  <c:v>12415</c:v>
                </c:pt>
                <c:pt idx="243">
                  <c:v>2656</c:v>
                </c:pt>
                <c:pt idx="244">
                  <c:v>1438</c:v>
                </c:pt>
                <c:pt idx="245">
                  <c:v>842</c:v>
                </c:pt>
                <c:pt idx="246">
                  <c:v>214</c:v>
                </c:pt>
                <c:pt idx="247">
                  <c:v>1819</c:v>
                </c:pt>
                <c:pt idx="248">
                  <c:v>7791</c:v>
                </c:pt>
                <c:pt idx="249">
                  <c:v>67227</c:v>
                </c:pt>
                <c:pt idx="250">
                  <c:v>43003</c:v>
                </c:pt>
                <c:pt idx="251">
                  <c:v>30951</c:v>
                </c:pt>
                <c:pt idx="252">
                  <c:v>17252</c:v>
                </c:pt>
                <c:pt idx="253">
                  <c:v>11673</c:v>
                </c:pt>
                <c:pt idx="254">
                  <c:v>4756</c:v>
                </c:pt>
                <c:pt idx="255">
                  <c:v>1938</c:v>
                </c:pt>
                <c:pt idx="256">
                  <c:v>2207</c:v>
                </c:pt>
                <c:pt idx="257">
                  <c:v>9931</c:v>
                </c:pt>
                <c:pt idx="258">
                  <c:v>8561</c:v>
                </c:pt>
                <c:pt idx="259">
                  <c:v>14125</c:v>
                </c:pt>
                <c:pt idx="260">
                  <c:v>10393</c:v>
                </c:pt>
                <c:pt idx="261">
                  <c:v>9243</c:v>
                </c:pt>
                <c:pt idx="262">
                  <c:v>4763</c:v>
                </c:pt>
                <c:pt idx="263">
                  <c:v>4978</c:v>
                </c:pt>
                <c:pt idx="264">
                  <c:v>8827</c:v>
                </c:pt>
                <c:pt idx="265">
                  <c:v>12230</c:v>
                </c:pt>
                <c:pt idx="266">
                  <c:v>12226</c:v>
                </c:pt>
                <c:pt idx="267">
                  <c:v>10387</c:v>
                </c:pt>
                <c:pt idx="268">
                  <c:v>7978</c:v>
                </c:pt>
                <c:pt idx="269">
                  <c:v>6646</c:v>
                </c:pt>
                <c:pt idx="270">
                  <c:v>5766</c:v>
                </c:pt>
                <c:pt idx="271">
                  <c:v>4716</c:v>
                </c:pt>
                <c:pt idx="272">
                  <c:v>1543</c:v>
                </c:pt>
                <c:pt idx="273">
                  <c:v>1495</c:v>
                </c:pt>
                <c:pt idx="274">
                  <c:v>4677</c:v>
                </c:pt>
                <c:pt idx="275">
                  <c:v>4694</c:v>
                </c:pt>
                <c:pt idx="276">
                  <c:v>3673</c:v>
                </c:pt>
                <c:pt idx="277">
                  <c:v>8351</c:v>
                </c:pt>
                <c:pt idx="278">
                  <c:v>3333</c:v>
                </c:pt>
                <c:pt idx="279">
                  <c:v>5102</c:v>
                </c:pt>
                <c:pt idx="280">
                  <c:v>3560</c:v>
                </c:pt>
                <c:pt idx="281">
                  <c:v>4212</c:v>
                </c:pt>
                <c:pt idx="282">
                  <c:v>3255</c:v>
                </c:pt>
                <c:pt idx="283">
                  <c:v>2712</c:v>
                </c:pt>
                <c:pt idx="284">
                  <c:v>2774</c:v>
                </c:pt>
                <c:pt idx="285">
                  <c:v>1434</c:v>
                </c:pt>
                <c:pt idx="286">
                  <c:v>1137</c:v>
                </c:pt>
                <c:pt idx="287">
                  <c:v>1857</c:v>
                </c:pt>
                <c:pt idx="288">
                  <c:v>1312</c:v>
                </c:pt>
                <c:pt idx="289">
                  <c:v>1355</c:v>
                </c:pt>
                <c:pt idx="290">
                  <c:v>932</c:v>
                </c:pt>
                <c:pt idx="291">
                  <c:v>952</c:v>
                </c:pt>
                <c:pt idx="292">
                  <c:v>610</c:v>
                </c:pt>
                <c:pt idx="293">
                  <c:v>8564</c:v>
                </c:pt>
                <c:pt idx="294">
                  <c:v>8166</c:v>
                </c:pt>
                <c:pt idx="295">
                  <c:v>12786</c:v>
                </c:pt>
                <c:pt idx="296">
                  <c:v>12294</c:v>
                </c:pt>
                <c:pt idx="297">
                  <c:v>10755</c:v>
                </c:pt>
                <c:pt idx="298">
                  <c:v>8245</c:v>
                </c:pt>
                <c:pt idx="299">
                  <c:v>19647</c:v>
                </c:pt>
                <c:pt idx="300">
                  <c:v>9430</c:v>
                </c:pt>
                <c:pt idx="301">
                  <c:v>9069</c:v>
                </c:pt>
                <c:pt idx="302">
                  <c:v>8164</c:v>
                </c:pt>
                <c:pt idx="303">
                  <c:v>8930</c:v>
                </c:pt>
                <c:pt idx="304">
                  <c:v>10502</c:v>
                </c:pt>
                <c:pt idx="305">
                  <c:v>6735</c:v>
                </c:pt>
                <c:pt idx="306">
                  <c:v>6509</c:v>
                </c:pt>
                <c:pt idx="307">
                  <c:v>4922</c:v>
                </c:pt>
                <c:pt idx="308">
                  <c:v>9975</c:v>
                </c:pt>
                <c:pt idx="309">
                  <c:v>8802</c:v>
                </c:pt>
                <c:pt idx="310">
                  <c:v>9045</c:v>
                </c:pt>
                <c:pt idx="311">
                  <c:v>9040</c:v>
                </c:pt>
                <c:pt idx="312">
                  <c:v>11327</c:v>
                </c:pt>
                <c:pt idx="313">
                  <c:v>10391</c:v>
                </c:pt>
                <c:pt idx="314">
                  <c:v>51541</c:v>
                </c:pt>
                <c:pt idx="315">
                  <c:v>8428</c:v>
                </c:pt>
                <c:pt idx="316">
                  <c:v>8900</c:v>
                </c:pt>
                <c:pt idx="317">
                  <c:v>9845</c:v>
                </c:pt>
                <c:pt idx="318">
                  <c:v>11418</c:v>
                </c:pt>
                <c:pt idx="319">
                  <c:v>10507</c:v>
                </c:pt>
                <c:pt idx="320">
                  <c:v>10148</c:v>
                </c:pt>
                <c:pt idx="321">
                  <c:v>10981</c:v>
                </c:pt>
                <c:pt idx="322">
                  <c:v>10156</c:v>
                </c:pt>
                <c:pt idx="323">
                  <c:v>10058</c:v>
                </c:pt>
                <c:pt idx="324">
                  <c:v>9423</c:v>
                </c:pt>
                <c:pt idx="325">
                  <c:v>10059</c:v>
                </c:pt>
                <c:pt idx="326">
                  <c:v>9728</c:v>
                </c:pt>
                <c:pt idx="327">
                  <c:v>10050</c:v>
                </c:pt>
                <c:pt idx="328">
                  <c:v>10087</c:v>
                </c:pt>
                <c:pt idx="329">
                  <c:v>43508</c:v>
                </c:pt>
                <c:pt idx="330">
                  <c:v>8715</c:v>
                </c:pt>
                <c:pt idx="331">
                  <c:v>7748</c:v>
                </c:pt>
                <c:pt idx="332">
                  <c:v>9564</c:v>
                </c:pt>
                <c:pt idx="333">
                  <c:v>8262</c:v>
                </c:pt>
                <c:pt idx="334">
                  <c:v>8214</c:v>
                </c:pt>
                <c:pt idx="335">
                  <c:v>9877</c:v>
                </c:pt>
                <c:pt idx="336">
                  <c:v>9042</c:v>
                </c:pt>
                <c:pt idx="337">
                  <c:v>8718</c:v>
                </c:pt>
                <c:pt idx="338">
                  <c:v>9008</c:v>
                </c:pt>
                <c:pt idx="339">
                  <c:v>11044</c:v>
                </c:pt>
                <c:pt idx="340">
                  <c:v>12027</c:v>
                </c:pt>
                <c:pt idx="341">
                  <c:v>37584</c:v>
                </c:pt>
                <c:pt idx="342">
                  <c:v>14242</c:v>
                </c:pt>
                <c:pt idx="343">
                  <c:v>10555</c:v>
                </c:pt>
                <c:pt idx="344">
                  <c:v>40444</c:v>
                </c:pt>
                <c:pt idx="345">
                  <c:v>9732</c:v>
                </c:pt>
                <c:pt idx="346">
                  <c:v>9995</c:v>
                </c:pt>
                <c:pt idx="347">
                  <c:v>10606</c:v>
                </c:pt>
                <c:pt idx="348">
                  <c:v>10891</c:v>
                </c:pt>
                <c:pt idx="349">
                  <c:v>11782</c:v>
                </c:pt>
                <c:pt idx="350">
                  <c:v>15552</c:v>
                </c:pt>
                <c:pt idx="351">
                  <c:v>12791</c:v>
                </c:pt>
                <c:pt idx="352">
                  <c:v>11001</c:v>
                </c:pt>
                <c:pt idx="353">
                  <c:v>12270</c:v>
                </c:pt>
                <c:pt idx="354">
                  <c:v>13700</c:v>
                </c:pt>
                <c:pt idx="355">
                  <c:v>11597</c:v>
                </c:pt>
                <c:pt idx="356">
                  <c:v>16787</c:v>
                </c:pt>
                <c:pt idx="357">
                  <c:v>12249</c:v>
                </c:pt>
                <c:pt idx="358">
                  <c:v>9192</c:v>
                </c:pt>
                <c:pt idx="359">
                  <c:v>9787</c:v>
                </c:pt>
                <c:pt idx="360">
                  <c:v>8850</c:v>
                </c:pt>
                <c:pt idx="361">
                  <c:v>10163</c:v>
                </c:pt>
                <c:pt idx="362">
                  <c:v>9761</c:v>
                </c:pt>
                <c:pt idx="363">
                  <c:v>11108</c:v>
                </c:pt>
                <c:pt idx="364">
                  <c:v>100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B4-4ECD-8A43-BFFD4F1E8E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07512160"/>
        <c:axId val="1607511328"/>
      </c:barChart>
      <c:dateAx>
        <c:axId val="160751216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7511328"/>
        <c:crosses val="autoZero"/>
        <c:auto val="1"/>
        <c:lblOffset val="100"/>
        <c:baseTimeUnit val="days"/>
      </c:dateAx>
      <c:valAx>
        <c:axId val="16075113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07512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sz="1400" b="1" i="0" kern="1200" spc="0" baseline="0" dirty="0">
                <a:solidFill>
                  <a:srgbClr val="000000"/>
                </a:solidFill>
                <a:effectLst/>
              </a:rPr>
              <a:t>Facebook Impressions</a:t>
            </a:r>
            <a:endParaRPr lang="en-IN" sz="14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647250685203459E-2"/>
          <c:y val="0.1110100897260959"/>
          <c:w val="0.85009385801103066"/>
          <c:h val="0.5899402476725074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* Others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rgbClr val="FFC000"/>
              </a:solidFill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#,##0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2830</c:v>
                </c:pt>
                <c:pt idx="230">
                  <c:v>2980</c:v>
                </c:pt>
                <c:pt idx="231">
                  <c:v>2975</c:v>
                </c:pt>
                <c:pt idx="232">
                  <c:v>3124</c:v>
                </c:pt>
                <c:pt idx="233">
                  <c:v>2617</c:v>
                </c:pt>
                <c:pt idx="234">
                  <c:v>2961</c:v>
                </c:pt>
                <c:pt idx="235">
                  <c:v>3261</c:v>
                </c:pt>
                <c:pt idx="236">
                  <c:v>3022</c:v>
                </c:pt>
                <c:pt idx="237">
                  <c:v>3051</c:v>
                </c:pt>
                <c:pt idx="238">
                  <c:v>3106</c:v>
                </c:pt>
                <c:pt idx="239">
                  <c:v>3114</c:v>
                </c:pt>
                <c:pt idx="240">
                  <c:v>3124</c:v>
                </c:pt>
                <c:pt idx="241">
                  <c:v>3405</c:v>
                </c:pt>
                <c:pt idx="242">
                  <c:v>7318</c:v>
                </c:pt>
                <c:pt idx="243">
                  <c:v>3986</c:v>
                </c:pt>
                <c:pt idx="244">
                  <c:v>4553</c:v>
                </c:pt>
                <c:pt idx="245">
                  <c:v>4382</c:v>
                </c:pt>
                <c:pt idx="246">
                  <c:v>4116</c:v>
                </c:pt>
                <c:pt idx="247">
                  <c:v>4173</c:v>
                </c:pt>
                <c:pt idx="248">
                  <c:v>4600</c:v>
                </c:pt>
                <c:pt idx="249">
                  <c:v>4561</c:v>
                </c:pt>
                <c:pt idx="250">
                  <c:v>4798</c:v>
                </c:pt>
                <c:pt idx="251">
                  <c:v>4386</c:v>
                </c:pt>
                <c:pt idx="252">
                  <c:v>4279</c:v>
                </c:pt>
                <c:pt idx="253">
                  <c:v>3955</c:v>
                </c:pt>
                <c:pt idx="254">
                  <c:v>4239</c:v>
                </c:pt>
                <c:pt idx="255">
                  <c:v>4514</c:v>
                </c:pt>
                <c:pt idx="256">
                  <c:v>4659</c:v>
                </c:pt>
                <c:pt idx="257">
                  <c:v>4706</c:v>
                </c:pt>
                <c:pt idx="258">
                  <c:v>4362</c:v>
                </c:pt>
                <c:pt idx="259">
                  <c:v>4500</c:v>
                </c:pt>
                <c:pt idx="260">
                  <c:v>4216</c:v>
                </c:pt>
                <c:pt idx="261">
                  <c:v>4217</c:v>
                </c:pt>
                <c:pt idx="262">
                  <c:v>4726</c:v>
                </c:pt>
                <c:pt idx="263">
                  <c:v>4638</c:v>
                </c:pt>
                <c:pt idx="264">
                  <c:v>4626</c:v>
                </c:pt>
                <c:pt idx="265">
                  <c:v>4301</c:v>
                </c:pt>
                <c:pt idx="266">
                  <c:v>4781</c:v>
                </c:pt>
                <c:pt idx="267">
                  <c:v>4793</c:v>
                </c:pt>
                <c:pt idx="268">
                  <c:v>4619</c:v>
                </c:pt>
                <c:pt idx="269">
                  <c:v>4972</c:v>
                </c:pt>
                <c:pt idx="270">
                  <c:v>5064</c:v>
                </c:pt>
                <c:pt idx="271">
                  <c:v>5119</c:v>
                </c:pt>
                <c:pt idx="272">
                  <c:v>5320</c:v>
                </c:pt>
                <c:pt idx="273">
                  <c:v>5725</c:v>
                </c:pt>
                <c:pt idx="274">
                  <c:v>11025</c:v>
                </c:pt>
                <c:pt idx="275">
                  <c:v>11123</c:v>
                </c:pt>
                <c:pt idx="276">
                  <c:v>11845</c:v>
                </c:pt>
                <c:pt idx="277">
                  <c:v>8447</c:v>
                </c:pt>
                <c:pt idx="278">
                  <c:v>7125</c:v>
                </c:pt>
                <c:pt idx="279">
                  <c:v>6670</c:v>
                </c:pt>
                <c:pt idx="280">
                  <c:v>6690</c:v>
                </c:pt>
                <c:pt idx="281">
                  <c:v>6474</c:v>
                </c:pt>
                <c:pt idx="282">
                  <c:v>6263</c:v>
                </c:pt>
                <c:pt idx="283">
                  <c:v>6656</c:v>
                </c:pt>
                <c:pt idx="284">
                  <c:v>6866</c:v>
                </c:pt>
                <c:pt idx="285">
                  <c:v>6311</c:v>
                </c:pt>
                <c:pt idx="286">
                  <c:v>6283</c:v>
                </c:pt>
                <c:pt idx="287">
                  <c:v>6762</c:v>
                </c:pt>
                <c:pt idx="288">
                  <c:v>6490</c:v>
                </c:pt>
                <c:pt idx="289">
                  <c:v>6348</c:v>
                </c:pt>
                <c:pt idx="290">
                  <c:v>6753</c:v>
                </c:pt>
                <c:pt idx="291">
                  <c:v>6754</c:v>
                </c:pt>
                <c:pt idx="292">
                  <c:v>6317</c:v>
                </c:pt>
                <c:pt idx="293">
                  <c:v>5650</c:v>
                </c:pt>
                <c:pt idx="294">
                  <c:v>5596</c:v>
                </c:pt>
                <c:pt idx="295">
                  <c:v>5419</c:v>
                </c:pt>
                <c:pt idx="296">
                  <c:v>5163</c:v>
                </c:pt>
                <c:pt idx="297">
                  <c:v>5694</c:v>
                </c:pt>
                <c:pt idx="298">
                  <c:v>5742</c:v>
                </c:pt>
                <c:pt idx="299">
                  <c:v>5802</c:v>
                </c:pt>
                <c:pt idx="300">
                  <c:v>5611</c:v>
                </c:pt>
                <c:pt idx="301">
                  <c:v>5887</c:v>
                </c:pt>
                <c:pt idx="302">
                  <c:v>5856</c:v>
                </c:pt>
                <c:pt idx="303">
                  <c:v>5816</c:v>
                </c:pt>
                <c:pt idx="304">
                  <c:v>5750</c:v>
                </c:pt>
                <c:pt idx="305">
                  <c:v>6007</c:v>
                </c:pt>
                <c:pt idx="306">
                  <c:v>6158</c:v>
                </c:pt>
                <c:pt idx="307">
                  <c:v>6724</c:v>
                </c:pt>
                <c:pt idx="308">
                  <c:v>8341</c:v>
                </c:pt>
                <c:pt idx="309">
                  <c:v>23082</c:v>
                </c:pt>
                <c:pt idx="310">
                  <c:v>23306</c:v>
                </c:pt>
                <c:pt idx="311">
                  <c:v>18867</c:v>
                </c:pt>
                <c:pt idx="312">
                  <c:v>5135</c:v>
                </c:pt>
                <c:pt idx="313">
                  <c:v>5709</c:v>
                </c:pt>
                <c:pt idx="314">
                  <c:v>5782</c:v>
                </c:pt>
                <c:pt idx="315">
                  <c:v>5750</c:v>
                </c:pt>
                <c:pt idx="316">
                  <c:v>5360</c:v>
                </c:pt>
                <c:pt idx="317">
                  <c:v>5121</c:v>
                </c:pt>
                <c:pt idx="318">
                  <c:v>5803</c:v>
                </c:pt>
                <c:pt idx="319">
                  <c:v>6675</c:v>
                </c:pt>
                <c:pt idx="320">
                  <c:v>6157</c:v>
                </c:pt>
                <c:pt idx="321">
                  <c:v>6623</c:v>
                </c:pt>
                <c:pt idx="322">
                  <c:v>6192</c:v>
                </c:pt>
                <c:pt idx="323">
                  <c:v>5980</c:v>
                </c:pt>
                <c:pt idx="324">
                  <c:v>5935</c:v>
                </c:pt>
                <c:pt idx="325">
                  <c:v>6290</c:v>
                </c:pt>
                <c:pt idx="326">
                  <c:v>5858</c:v>
                </c:pt>
                <c:pt idx="327">
                  <c:v>5954</c:v>
                </c:pt>
                <c:pt idx="328">
                  <c:v>5693</c:v>
                </c:pt>
                <c:pt idx="329">
                  <c:v>5710</c:v>
                </c:pt>
                <c:pt idx="330">
                  <c:v>5336</c:v>
                </c:pt>
                <c:pt idx="331">
                  <c:v>5228</c:v>
                </c:pt>
                <c:pt idx="332">
                  <c:v>5932</c:v>
                </c:pt>
                <c:pt idx="333">
                  <c:v>6059</c:v>
                </c:pt>
                <c:pt idx="334">
                  <c:v>5968</c:v>
                </c:pt>
                <c:pt idx="335">
                  <c:v>5947</c:v>
                </c:pt>
                <c:pt idx="336">
                  <c:v>6019</c:v>
                </c:pt>
                <c:pt idx="337">
                  <c:v>5658</c:v>
                </c:pt>
                <c:pt idx="338">
                  <c:v>5601</c:v>
                </c:pt>
                <c:pt idx="339">
                  <c:v>6018</c:v>
                </c:pt>
                <c:pt idx="340">
                  <c:v>5987</c:v>
                </c:pt>
                <c:pt idx="341">
                  <c:v>6140</c:v>
                </c:pt>
                <c:pt idx="342">
                  <c:v>6068</c:v>
                </c:pt>
                <c:pt idx="343">
                  <c:v>5981</c:v>
                </c:pt>
                <c:pt idx="344">
                  <c:v>5933</c:v>
                </c:pt>
                <c:pt idx="345">
                  <c:v>5881</c:v>
                </c:pt>
                <c:pt idx="346">
                  <c:v>6446</c:v>
                </c:pt>
                <c:pt idx="347">
                  <c:v>5946</c:v>
                </c:pt>
                <c:pt idx="348">
                  <c:v>5934</c:v>
                </c:pt>
                <c:pt idx="349">
                  <c:v>5690</c:v>
                </c:pt>
                <c:pt idx="350">
                  <c:v>5745</c:v>
                </c:pt>
                <c:pt idx="351">
                  <c:v>5648</c:v>
                </c:pt>
                <c:pt idx="352">
                  <c:v>5647</c:v>
                </c:pt>
                <c:pt idx="353">
                  <c:v>5834</c:v>
                </c:pt>
                <c:pt idx="354">
                  <c:v>5846</c:v>
                </c:pt>
                <c:pt idx="355">
                  <c:v>5887</c:v>
                </c:pt>
                <c:pt idx="356">
                  <c:v>5610</c:v>
                </c:pt>
                <c:pt idx="357">
                  <c:v>5431</c:v>
                </c:pt>
                <c:pt idx="358">
                  <c:v>5768</c:v>
                </c:pt>
                <c:pt idx="359">
                  <c:v>5453</c:v>
                </c:pt>
                <c:pt idx="360">
                  <c:v>5904</c:v>
                </c:pt>
                <c:pt idx="361">
                  <c:v>5431</c:v>
                </c:pt>
                <c:pt idx="362">
                  <c:v>5755</c:v>
                </c:pt>
                <c:pt idx="363">
                  <c:v>5414</c:v>
                </c:pt>
                <c:pt idx="364">
                  <c:v>5628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F001-464D-9894-9DA9E76B0E8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p Event Optimization</c:v>
                </c:pt>
              </c:strCache>
            </c:strRef>
          </c:tx>
          <c:spPr>
            <a:solidFill>
              <a:schemeClr val="accent2"/>
            </a:solidFill>
            <a:ln w="19050">
              <a:solidFill>
                <a:schemeClr val="accent2"/>
              </a:solidFill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#,##0</c:formatCode>
                <c:ptCount val="365"/>
                <c:pt idx="0">
                  <c:v>16314</c:v>
                </c:pt>
                <c:pt idx="1">
                  <c:v>16968</c:v>
                </c:pt>
                <c:pt idx="2">
                  <c:v>13554</c:v>
                </c:pt>
                <c:pt idx="3">
                  <c:v>14212</c:v>
                </c:pt>
                <c:pt idx="4">
                  <c:v>10182</c:v>
                </c:pt>
                <c:pt idx="5">
                  <c:v>10148</c:v>
                </c:pt>
                <c:pt idx="6">
                  <c:v>6084</c:v>
                </c:pt>
                <c:pt idx="7">
                  <c:v>8034</c:v>
                </c:pt>
                <c:pt idx="8">
                  <c:v>10724</c:v>
                </c:pt>
                <c:pt idx="9">
                  <c:v>6862</c:v>
                </c:pt>
                <c:pt idx="10">
                  <c:v>10552</c:v>
                </c:pt>
                <c:pt idx="11">
                  <c:v>10940</c:v>
                </c:pt>
                <c:pt idx="12">
                  <c:v>5058</c:v>
                </c:pt>
                <c:pt idx="13">
                  <c:v>4862</c:v>
                </c:pt>
                <c:pt idx="14">
                  <c:v>9098</c:v>
                </c:pt>
                <c:pt idx="15">
                  <c:v>10054</c:v>
                </c:pt>
                <c:pt idx="16">
                  <c:v>7530</c:v>
                </c:pt>
                <c:pt idx="17">
                  <c:v>7440</c:v>
                </c:pt>
                <c:pt idx="18">
                  <c:v>6862</c:v>
                </c:pt>
                <c:pt idx="19">
                  <c:v>5040</c:v>
                </c:pt>
                <c:pt idx="20">
                  <c:v>6700</c:v>
                </c:pt>
                <c:pt idx="21">
                  <c:v>8878</c:v>
                </c:pt>
                <c:pt idx="22">
                  <c:v>9124</c:v>
                </c:pt>
                <c:pt idx="23">
                  <c:v>9376</c:v>
                </c:pt>
                <c:pt idx="24">
                  <c:v>9966</c:v>
                </c:pt>
                <c:pt idx="25">
                  <c:v>10348</c:v>
                </c:pt>
                <c:pt idx="26">
                  <c:v>9690</c:v>
                </c:pt>
                <c:pt idx="27">
                  <c:v>9354</c:v>
                </c:pt>
                <c:pt idx="28">
                  <c:v>11216</c:v>
                </c:pt>
                <c:pt idx="29">
                  <c:v>10382</c:v>
                </c:pt>
                <c:pt idx="30">
                  <c:v>7910</c:v>
                </c:pt>
                <c:pt idx="31">
                  <c:v>7936</c:v>
                </c:pt>
                <c:pt idx="32">
                  <c:v>6824</c:v>
                </c:pt>
                <c:pt idx="33">
                  <c:v>7262</c:v>
                </c:pt>
                <c:pt idx="34">
                  <c:v>8476</c:v>
                </c:pt>
                <c:pt idx="35">
                  <c:v>10778</c:v>
                </c:pt>
                <c:pt idx="36">
                  <c:v>10792</c:v>
                </c:pt>
                <c:pt idx="37">
                  <c:v>9330</c:v>
                </c:pt>
                <c:pt idx="38">
                  <c:v>10750</c:v>
                </c:pt>
                <c:pt idx="39">
                  <c:v>10902</c:v>
                </c:pt>
                <c:pt idx="40">
                  <c:v>12386</c:v>
                </c:pt>
                <c:pt idx="41">
                  <c:v>7452</c:v>
                </c:pt>
                <c:pt idx="42">
                  <c:v>9618</c:v>
                </c:pt>
                <c:pt idx="43">
                  <c:v>6598</c:v>
                </c:pt>
                <c:pt idx="44">
                  <c:v>5022</c:v>
                </c:pt>
                <c:pt idx="45">
                  <c:v>5896</c:v>
                </c:pt>
                <c:pt idx="46">
                  <c:v>4808</c:v>
                </c:pt>
                <c:pt idx="47">
                  <c:v>5858</c:v>
                </c:pt>
                <c:pt idx="48">
                  <c:v>6362</c:v>
                </c:pt>
                <c:pt idx="49">
                  <c:v>7238</c:v>
                </c:pt>
                <c:pt idx="50">
                  <c:v>8460</c:v>
                </c:pt>
                <c:pt idx="51">
                  <c:v>8420</c:v>
                </c:pt>
                <c:pt idx="52">
                  <c:v>7920</c:v>
                </c:pt>
                <c:pt idx="53">
                  <c:v>9210</c:v>
                </c:pt>
                <c:pt idx="54">
                  <c:v>13114</c:v>
                </c:pt>
                <c:pt idx="55">
                  <c:v>14642</c:v>
                </c:pt>
                <c:pt idx="56">
                  <c:v>12984</c:v>
                </c:pt>
                <c:pt idx="57">
                  <c:v>12922</c:v>
                </c:pt>
                <c:pt idx="58">
                  <c:v>12200</c:v>
                </c:pt>
                <c:pt idx="59">
                  <c:v>14664</c:v>
                </c:pt>
                <c:pt idx="60">
                  <c:v>13246</c:v>
                </c:pt>
                <c:pt idx="61">
                  <c:v>8209</c:v>
                </c:pt>
                <c:pt idx="62">
                  <c:v>10702</c:v>
                </c:pt>
                <c:pt idx="63">
                  <c:v>7108</c:v>
                </c:pt>
                <c:pt idx="64">
                  <c:v>7811</c:v>
                </c:pt>
                <c:pt idx="65">
                  <c:v>6516</c:v>
                </c:pt>
                <c:pt idx="66">
                  <c:v>7916</c:v>
                </c:pt>
                <c:pt idx="67">
                  <c:v>7004</c:v>
                </c:pt>
                <c:pt idx="68">
                  <c:v>6010</c:v>
                </c:pt>
                <c:pt idx="69">
                  <c:v>5814</c:v>
                </c:pt>
                <c:pt idx="70">
                  <c:v>6793</c:v>
                </c:pt>
                <c:pt idx="71">
                  <c:v>7178</c:v>
                </c:pt>
                <c:pt idx="72">
                  <c:v>6873</c:v>
                </c:pt>
                <c:pt idx="73">
                  <c:v>7076</c:v>
                </c:pt>
                <c:pt idx="74">
                  <c:v>6474</c:v>
                </c:pt>
                <c:pt idx="75">
                  <c:v>6757</c:v>
                </c:pt>
                <c:pt idx="76">
                  <c:v>7697</c:v>
                </c:pt>
                <c:pt idx="77">
                  <c:v>6636</c:v>
                </c:pt>
                <c:pt idx="78">
                  <c:v>7094</c:v>
                </c:pt>
                <c:pt idx="79">
                  <c:v>7505</c:v>
                </c:pt>
                <c:pt idx="80">
                  <c:v>8610</c:v>
                </c:pt>
                <c:pt idx="81">
                  <c:v>9920</c:v>
                </c:pt>
                <c:pt idx="82">
                  <c:v>7961</c:v>
                </c:pt>
                <c:pt idx="83">
                  <c:v>7493</c:v>
                </c:pt>
                <c:pt idx="84">
                  <c:v>6546</c:v>
                </c:pt>
                <c:pt idx="85">
                  <c:v>6569</c:v>
                </c:pt>
                <c:pt idx="86">
                  <c:v>5914</c:v>
                </c:pt>
                <c:pt idx="87">
                  <c:v>5837</c:v>
                </c:pt>
                <c:pt idx="88">
                  <c:v>5190</c:v>
                </c:pt>
                <c:pt idx="89">
                  <c:v>5411</c:v>
                </c:pt>
                <c:pt idx="90">
                  <c:v>3530</c:v>
                </c:pt>
                <c:pt idx="91">
                  <c:v>3229</c:v>
                </c:pt>
                <c:pt idx="92">
                  <c:v>3569</c:v>
                </c:pt>
                <c:pt idx="93">
                  <c:v>3704</c:v>
                </c:pt>
                <c:pt idx="94">
                  <c:v>4946</c:v>
                </c:pt>
                <c:pt idx="95">
                  <c:v>4664</c:v>
                </c:pt>
                <c:pt idx="96">
                  <c:v>5911</c:v>
                </c:pt>
                <c:pt idx="97">
                  <c:v>7319</c:v>
                </c:pt>
                <c:pt idx="98">
                  <c:v>7528</c:v>
                </c:pt>
                <c:pt idx="99">
                  <c:v>7774</c:v>
                </c:pt>
                <c:pt idx="100">
                  <c:v>7077</c:v>
                </c:pt>
                <c:pt idx="101">
                  <c:v>6239</c:v>
                </c:pt>
                <c:pt idx="102">
                  <c:v>7008</c:v>
                </c:pt>
                <c:pt idx="103">
                  <c:v>8446</c:v>
                </c:pt>
                <c:pt idx="104">
                  <c:v>8126</c:v>
                </c:pt>
                <c:pt idx="105">
                  <c:v>6608</c:v>
                </c:pt>
                <c:pt idx="106">
                  <c:v>6712</c:v>
                </c:pt>
                <c:pt idx="107">
                  <c:v>6267</c:v>
                </c:pt>
                <c:pt idx="108">
                  <c:v>6785</c:v>
                </c:pt>
                <c:pt idx="109">
                  <c:v>8461</c:v>
                </c:pt>
                <c:pt idx="110">
                  <c:v>9482</c:v>
                </c:pt>
                <c:pt idx="111">
                  <c:v>8689</c:v>
                </c:pt>
                <c:pt idx="112">
                  <c:v>8419</c:v>
                </c:pt>
                <c:pt idx="113">
                  <c:v>8000</c:v>
                </c:pt>
                <c:pt idx="114">
                  <c:v>5397</c:v>
                </c:pt>
                <c:pt idx="115">
                  <c:v>6185</c:v>
                </c:pt>
                <c:pt idx="116">
                  <c:v>5395</c:v>
                </c:pt>
                <c:pt idx="117">
                  <c:v>4887</c:v>
                </c:pt>
                <c:pt idx="118">
                  <c:v>4970</c:v>
                </c:pt>
                <c:pt idx="119">
                  <c:v>5081</c:v>
                </c:pt>
                <c:pt idx="120">
                  <c:v>4372</c:v>
                </c:pt>
                <c:pt idx="121">
                  <c:v>4173</c:v>
                </c:pt>
                <c:pt idx="122">
                  <c:v>7139</c:v>
                </c:pt>
                <c:pt idx="123">
                  <c:v>6621</c:v>
                </c:pt>
                <c:pt idx="124">
                  <c:v>5704</c:v>
                </c:pt>
                <c:pt idx="125">
                  <c:v>6206</c:v>
                </c:pt>
                <c:pt idx="126">
                  <c:v>6192</c:v>
                </c:pt>
                <c:pt idx="127">
                  <c:v>7420</c:v>
                </c:pt>
                <c:pt idx="128">
                  <c:v>7433</c:v>
                </c:pt>
                <c:pt idx="129">
                  <c:v>7032</c:v>
                </c:pt>
                <c:pt idx="130">
                  <c:v>7162</c:v>
                </c:pt>
                <c:pt idx="131">
                  <c:v>7385</c:v>
                </c:pt>
                <c:pt idx="132">
                  <c:v>7933</c:v>
                </c:pt>
                <c:pt idx="133">
                  <c:v>8196</c:v>
                </c:pt>
                <c:pt idx="134">
                  <c:v>10437</c:v>
                </c:pt>
                <c:pt idx="135">
                  <c:v>8347</c:v>
                </c:pt>
                <c:pt idx="136">
                  <c:v>9025</c:v>
                </c:pt>
                <c:pt idx="137">
                  <c:v>11126</c:v>
                </c:pt>
                <c:pt idx="138">
                  <c:v>11194</c:v>
                </c:pt>
                <c:pt idx="139">
                  <c:v>11137</c:v>
                </c:pt>
                <c:pt idx="140">
                  <c:v>12593</c:v>
                </c:pt>
                <c:pt idx="141">
                  <c:v>14733</c:v>
                </c:pt>
                <c:pt idx="142">
                  <c:v>9544</c:v>
                </c:pt>
                <c:pt idx="143">
                  <c:v>9466</c:v>
                </c:pt>
                <c:pt idx="144">
                  <c:v>8185</c:v>
                </c:pt>
                <c:pt idx="145">
                  <c:v>10153</c:v>
                </c:pt>
                <c:pt idx="146">
                  <c:v>7975</c:v>
                </c:pt>
                <c:pt idx="147">
                  <c:v>6082</c:v>
                </c:pt>
                <c:pt idx="148">
                  <c:v>5871</c:v>
                </c:pt>
                <c:pt idx="149">
                  <c:v>6119</c:v>
                </c:pt>
                <c:pt idx="150">
                  <c:v>7111</c:v>
                </c:pt>
                <c:pt idx="151">
                  <c:v>6958</c:v>
                </c:pt>
                <c:pt idx="152">
                  <c:v>5383</c:v>
                </c:pt>
                <c:pt idx="153">
                  <c:v>5391</c:v>
                </c:pt>
                <c:pt idx="154">
                  <c:v>4876</c:v>
                </c:pt>
                <c:pt idx="155">
                  <c:v>4876</c:v>
                </c:pt>
                <c:pt idx="156">
                  <c:v>3921</c:v>
                </c:pt>
                <c:pt idx="157">
                  <c:v>5227</c:v>
                </c:pt>
                <c:pt idx="158">
                  <c:v>6723</c:v>
                </c:pt>
                <c:pt idx="159">
                  <c:v>7305</c:v>
                </c:pt>
                <c:pt idx="160">
                  <c:v>7248</c:v>
                </c:pt>
                <c:pt idx="161">
                  <c:v>5995</c:v>
                </c:pt>
                <c:pt idx="162">
                  <c:v>6751</c:v>
                </c:pt>
                <c:pt idx="163">
                  <c:v>7834</c:v>
                </c:pt>
                <c:pt idx="164">
                  <c:v>9017</c:v>
                </c:pt>
                <c:pt idx="165">
                  <c:v>7705</c:v>
                </c:pt>
                <c:pt idx="166">
                  <c:v>7102</c:v>
                </c:pt>
                <c:pt idx="167">
                  <c:v>6974</c:v>
                </c:pt>
                <c:pt idx="168">
                  <c:v>5569</c:v>
                </c:pt>
                <c:pt idx="169">
                  <c:v>5411</c:v>
                </c:pt>
                <c:pt idx="170">
                  <c:v>5258</c:v>
                </c:pt>
                <c:pt idx="171">
                  <c:v>7436</c:v>
                </c:pt>
                <c:pt idx="172">
                  <c:v>7710</c:v>
                </c:pt>
                <c:pt idx="173">
                  <c:v>8010</c:v>
                </c:pt>
                <c:pt idx="174">
                  <c:v>7197</c:v>
                </c:pt>
                <c:pt idx="175">
                  <c:v>8002</c:v>
                </c:pt>
                <c:pt idx="176">
                  <c:v>7680</c:v>
                </c:pt>
                <c:pt idx="177">
                  <c:v>6006</c:v>
                </c:pt>
                <c:pt idx="178">
                  <c:v>12090</c:v>
                </c:pt>
                <c:pt idx="179">
                  <c:v>45557</c:v>
                </c:pt>
                <c:pt idx="180">
                  <c:v>42693</c:v>
                </c:pt>
                <c:pt idx="181">
                  <c:v>40067</c:v>
                </c:pt>
                <c:pt idx="182">
                  <c:v>32900</c:v>
                </c:pt>
                <c:pt idx="183">
                  <c:v>35360</c:v>
                </c:pt>
                <c:pt idx="184">
                  <c:v>29898</c:v>
                </c:pt>
                <c:pt idx="185">
                  <c:v>29040</c:v>
                </c:pt>
                <c:pt idx="186">
                  <c:v>34139</c:v>
                </c:pt>
                <c:pt idx="187">
                  <c:v>35669</c:v>
                </c:pt>
                <c:pt idx="188">
                  <c:v>30425</c:v>
                </c:pt>
                <c:pt idx="189">
                  <c:v>24416</c:v>
                </c:pt>
                <c:pt idx="190">
                  <c:v>22453</c:v>
                </c:pt>
                <c:pt idx="191">
                  <c:v>23012</c:v>
                </c:pt>
                <c:pt idx="192">
                  <c:v>21351</c:v>
                </c:pt>
                <c:pt idx="193">
                  <c:v>22572</c:v>
                </c:pt>
                <c:pt idx="194">
                  <c:v>24043</c:v>
                </c:pt>
                <c:pt idx="195">
                  <c:v>30274</c:v>
                </c:pt>
                <c:pt idx="196">
                  <c:v>31041</c:v>
                </c:pt>
                <c:pt idx="197">
                  <c:v>29013</c:v>
                </c:pt>
                <c:pt idx="198">
                  <c:v>25218</c:v>
                </c:pt>
                <c:pt idx="199">
                  <c:v>35869</c:v>
                </c:pt>
                <c:pt idx="200">
                  <c:v>39173</c:v>
                </c:pt>
                <c:pt idx="201">
                  <c:v>35643</c:v>
                </c:pt>
                <c:pt idx="202">
                  <c:v>24653</c:v>
                </c:pt>
                <c:pt idx="203">
                  <c:v>32705</c:v>
                </c:pt>
                <c:pt idx="204">
                  <c:v>34166</c:v>
                </c:pt>
                <c:pt idx="205">
                  <c:v>30838</c:v>
                </c:pt>
                <c:pt idx="206">
                  <c:v>30804</c:v>
                </c:pt>
                <c:pt idx="207">
                  <c:v>27318</c:v>
                </c:pt>
                <c:pt idx="208">
                  <c:v>30461</c:v>
                </c:pt>
                <c:pt idx="209">
                  <c:v>25820</c:v>
                </c:pt>
                <c:pt idx="210">
                  <c:v>25547</c:v>
                </c:pt>
                <c:pt idx="211">
                  <c:v>28005</c:v>
                </c:pt>
                <c:pt idx="212">
                  <c:v>24903</c:v>
                </c:pt>
                <c:pt idx="213">
                  <c:v>31945</c:v>
                </c:pt>
                <c:pt idx="214">
                  <c:v>25935</c:v>
                </c:pt>
                <c:pt idx="215">
                  <c:v>24634</c:v>
                </c:pt>
                <c:pt idx="216">
                  <c:v>19424</c:v>
                </c:pt>
                <c:pt idx="217">
                  <c:v>29634</c:v>
                </c:pt>
                <c:pt idx="218">
                  <c:v>30469</c:v>
                </c:pt>
                <c:pt idx="219">
                  <c:v>30575</c:v>
                </c:pt>
                <c:pt idx="220">
                  <c:v>28178</c:v>
                </c:pt>
                <c:pt idx="221">
                  <c:v>30114</c:v>
                </c:pt>
                <c:pt idx="222">
                  <c:v>26269</c:v>
                </c:pt>
                <c:pt idx="223">
                  <c:v>22237</c:v>
                </c:pt>
                <c:pt idx="224">
                  <c:v>19079</c:v>
                </c:pt>
                <c:pt idx="225">
                  <c:v>10829</c:v>
                </c:pt>
                <c:pt idx="226">
                  <c:v>8307</c:v>
                </c:pt>
                <c:pt idx="227">
                  <c:v>9335</c:v>
                </c:pt>
                <c:pt idx="228">
                  <c:v>9380</c:v>
                </c:pt>
                <c:pt idx="229">
                  <c:v>11560</c:v>
                </c:pt>
                <c:pt idx="230">
                  <c:v>11134</c:v>
                </c:pt>
                <c:pt idx="231">
                  <c:v>12259</c:v>
                </c:pt>
                <c:pt idx="232">
                  <c:v>15391</c:v>
                </c:pt>
                <c:pt idx="233">
                  <c:v>16020</c:v>
                </c:pt>
                <c:pt idx="234">
                  <c:v>17617</c:v>
                </c:pt>
                <c:pt idx="235">
                  <c:v>17431</c:v>
                </c:pt>
                <c:pt idx="236">
                  <c:v>13832</c:v>
                </c:pt>
                <c:pt idx="237">
                  <c:v>17805</c:v>
                </c:pt>
                <c:pt idx="238">
                  <c:v>17300</c:v>
                </c:pt>
                <c:pt idx="239">
                  <c:v>22458</c:v>
                </c:pt>
                <c:pt idx="240">
                  <c:v>22192</c:v>
                </c:pt>
                <c:pt idx="241">
                  <c:v>25044</c:v>
                </c:pt>
                <c:pt idx="242">
                  <c:v>49588</c:v>
                </c:pt>
                <c:pt idx="243">
                  <c:v>31967</c:v>
                </c:pt>
                <c:pt idx="244">
                  <c:v>34317</c:v>
                </c:pt>
                <c:pt idx="245">
                  <c:v>30634</c:v>
                </c:pt>
                <c:pt idx="246">
                  <c:v>32309</c:v>
                </c:pt>
                <c:pt idx="247">
                  <c:v>30616</c:v>
                </c:pt>
                <c:pt idx="248">
                  <c:v>40417</c:v>
                </c:pt>
                <c:pt idx="249">
                  <c:v>39796</c:v>
                </c:pt>
                <c:pt idx="250">
                  <c:v>38693</c:v>
                </c:pt>
                <c:pt idx="251">
                  <c:v>28792</c:v>
                </c:pt>
                <c:pt idx="252">
                  <c:v>34905</c:v>
                </c:pt>
                <c:pt idx="253">
                  <c:v>27187</c:v>
                </c:pt>
                <c:pt idx="254">
                  <c:v>28699</c:v>
                </c:pt>
                <c:pt idx="255">
                  <c:v>28237</c:v>
                </c:pt>
                <c:pt idx="256">
                  <c:v>24037</c:v>
                </c:pt>
                <c:pt idx="257">
                  <c:v>23578</c:v>
                </c:pt>
                <c:pt idx="258">
                  <c:v>28780</c:v>
                </c:pt>
                <c:pt idx="259">
                  <c:v>26816</c:v>
                </c:pt>
                <c:pt idx="260">
                  <c:v>28770</c:v>
                </c:pt>
                <c:pt idx="261">
                  <c:v>45592</c:v>
                </c:pt>
                <c:pt idx="262">
                  <c:v>49102</c:v>
                </c:pt>
                <c:pt idx="263">
                  <c:v>40625</c:v>
                </c:pt>
                <c:pt idx="264">
                  <c:v>39698</c:v>
                </c:pt>
                <c:pt idx="265">
                  <c:v>37231</c:v>
                </c:pt>
                <c:pt idx="266">
                  <c:v>33792</c:v>
                </c:pt>
                <c:pt idx="267">
                  <c:v>40983</c:v>
                </c:pt>
                <c:pt idx="268">
                  <c:v>37681</c:v>
                </c:pt>
                <c:pt idx="269">
                  <c:v>41042</c:v>
                </c:pt>
                <c:pt idx="270">
                  <c:v>37180</c:v>
                </c:pt>
                <c:pt idx="271">
                  <c:v>30621</c:v>
                </c:pt>
                <c:pt idx="272">
                  <c:v>30283</c:v>
                </c:pt>
                <c:pt idx="273">
                  <c:v>33317</c:v>
                </c:pt>
                <c:pt idx="274">
                  <c:v>37328</c:v>
                </c:pt>
                <c:pt idx="275">
                  <c:v>38468</c:v>
                </c:pt>
                <c:pt idx="276">
                  <c:v>47415</c:v>
                </c:pt>
                <c:pt idx="277">
                  <c:v>38382</c:v>
                </c:pt>
                <c:pt idx="278">
                  <c:v>33718</c:v>
                </c:pt>
                <c:pt idx="279">
                  <c:v>31523</c:v>
                </c:pt>
                <c:pt idx="280">
                  <c:v>32003</c:v>
                </c:pt>
                <c:pt idx="281">
                  <c:v>36157</c:v>
                </c:pt>
                <c:pt idx="282">
                  <c:v>32701</c:v>
                </c:pt>
                <c:pt idx="283">
                  <c:v>36705</c:v>
                </c:pt>
                <c:pt idx="284">
                  <c:v>31540</c:v>
                </c:pt>
                <c:pt idx="285">
                  <c:v>31004</c:v>
                </c:pt>
                <c:pt idx="286">
                  <c:v>34307</c:v>
                </c:pt>
                <c:pt idx="287">
                  <c:v>33467</c:v>
                </c:pt>
                <c:pt idx="288">
                  <c:v>32179</c:v>
                </c:pt>
                <c:pt idx="289">
                  <c:v>29889</c:v>
                </c:pt>
                <c:pt idx="290">
                  <c:v>35856</c:v>
                </c:pt>
                <c:pt idx="291">
                  <c:v>29795</c:v>
                </c:pt>
                <c:pt idx="292">
                  <c:v>36386</c:v>
                </c:pt>
                <c:pt idx="293">
                  <c:v>36303</c:v>
                </c:pt>
                <c:pt idx="294">
                  <c:v>35851</c:v>
                </c:pt>
                <c:pt idx="295">
                  <c:v>36206</c:v>
                </c:pt>
                <c:pt idx="296">
                  <c:v>36064</c:v>
                </c:pt>
                <c:pt idx="297">
                  <c:v>32548</c:v>
                </c:pt>
                <c:pt idx="298">
                  <c:v>26870</c:v>
                </c:pt>
                <c:pt idx="299">
                  <c:v>31114</c:v>
                </c:pt>
                <c:pt idx="300">
                  <c:v>35622</c:v>
                </c:pt>
                <c:pt idx="301">
                  <c:v>37781</c:v>
                </c:pt>
                <c:pt idx="302">
                  <c:v>34359</c:v>
                </c:pt>
                <c:pt idx="303">
                  <c:v>36541</c:v>
                </c:pt>
                <c:pt idx="304">
                  <c:v>36064</c:v>
                </c:pt>
                <c:pt idx="305">
                  <c:v>30573</c:v>
                </c:pt>
                <c:pt idx="306">
                  <c:v>36983</c:v>
                </c:pt>
                <c:pt idx="307">
                  <c:v>43871</c:v>
                </c:pt>
                <c:pt idx="308">
                  <c:v>37968</c:v>
                </c:pt>
                <c:pt idx="309">
                  <c:v>31400</c:v>
                </c:pt>
                <c:pt idx="310">
                  <c:v>31004</c:v>
                </c:pt>
                <c:pt idx="311">
                  <c:v>30856</c:v>
                </c:pt>
                <c:pt idx="312">
                  <c:v>27583</c:v>
                </c:pt>
                <c:pt idx="313">
                  <c:v>26259</c:v>
                </c:pt>
                <c:pt idx="314">
                  <c:v>26429</c:v>
                </c:pt>
                <c:pt idx="315">
                  <c:v>21956</c:v>
                </c:pt>
                <c:pt idx="316">
                  <c:v>23030</c:v>
                </c:pt>
                <c:pt idx="317">
                  <c:v>22017</c:v>
                </c:pt>
                <c:pt idx="318">
                  <c:v>24753</c:v>
                </c:pt>
                <c:pt idx="319">
                  <c:v>27062</c:v>
                </c:pt>
                <c:pt idx="320">
                  <c:v>26432</c:v>
                </c:pt>
                <c:pt idx="321">
                  <c:v>21963</c:v>
                </c:pt>
                <c:pt idx="322">
                  <c:v>28554</c:v>
                </c:pt>
                <c:pt idx="323">
                  <c:v>26601</c:v>
                </c:pt>
                <c:pt idx="324">
                  <c:v>20594</c:v>
                </c:pt>
                <c:pt idx="325">
                  <c:v>22552</c:v>
                </c:pt>
                <c:pt idx="326">
                  <c:v>22612</c:v>
                </c:pt>
                <c:pt idx="327">
                  <c:v>19804</c:v>
                </c:pt>
                <c:pt idx="328">
                  <c:v>36154</c:v>
                </c:pt>
                <c:pt idx="329">
                  <c:v>42772</c:v>
                </c:pt>
                <c:pt idx="330">
                  <c:v>39018</c:v>
                </c:pt>
                <c:pt idx="331">
                  <c:v>32723</c:v>
                </c:pt>
                <c:pt idx="332">
                  <c:v>35194</c:v>
                </c:pt>
                <c:pt idx="333">
                  <c:v>37328</c:v>
                </c:pt>
                <c:pt idx="334">
                  <c:v>36970</c:v>
                </c:pt>
                <c:pt idx="335">
                  <c:v>37864</c:v>
                </c:pt>
                <c:pt idx="336">
                  <c:v>42438</c:v>
                </c:pt>
                <c:pt idx="337">
                  <c:v>38690</c:v>
                </c:pt>
                <c:pt idx="338">
                  <c:v>38204</c:v>
                </c:pt>
                <c:pt idx="339">
                  <c:v>43639</c:v>
                </c:pt>
                <c:pt idx="340">
                  <c:v>46041</c:v>
                </c:pt>
                <c:pt idx="341">
                  <c:v>43704</c:v>
                </c:pt>
                <c:pt idx="342">
                  <c:v>43160</c:v>
                </c:pt>
                <c:pt idx="343">
                  <c:v>36744</c:v>
                </c:pt>
                <c:pt idx="344">
                  <c:v>38724</c:v>
                </c:pt>
                <c:pt idx="345">
                  <c:v>35516</c:v>
                </c:pt>
                <c:pt idx="346">
                  <c:v>35836</c:v>
                </c:pt>
                <c:pt idx="347">
                  <c:v>34901</c:v>
                </c:pt>
                <c:pt idx="348">
                  <c:v>33412</c:v>
                </c:pt>
                <c:pt idx="349">
                  <c:v>30582</c:v>
                </c:pt>
                <c:pt idx="350">
                  <c:v>32956</c:v>
                </c:pt>
                <c:pt idx="351">
                  <c:v>24554</c:v>
                </c:pt>
                <c:pt idx="352">
                  <c:v>21175</c:v>
                </c:pt>
                <c:pt idx="353">
                  <c:v>22032</c:v>
                </c:pt>
                <c:pt idx="354">
                  <c:v>19488</c:v>
                </c:pt>
                <c:pt idx="355">
                  <c:v>17674</c:v>
                </c:pt>
                <c:pt idx="356">
                  <c:v>18948</c:v>
                </c:pt>
                <c:pt idx="357">
                  <c:v>14510</c:v>
                </c:pt>
                <c:pt idx="358">
                  <c:v>14195</c:v>
                </c:pt>
                <c:pt idx="359">
                  <c:v>11831</c:v>
                </c:pt>
                <c:pt idx="360">
                  <c:v>11248</c:v>
                </c:pt>
                <c:pt idx="361">
                  <c:v>17027</c:v>
                </c:pt>
                <c:pt idx="362">
                  <c:v>36696</c:v>
                </c:pt>
                <c:pt idx="363">
                  <c:v>24215</c:v>
                </c:pt>
                <c:pt idx="364">
                  <c:v>202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001-464D-9894-9DA9E76B0E8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OAS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92D050"/>
              </a:solidFill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D$2:$D$366</c:f>
              <c:numCache>
                <c:formatCode>#,##0</c:formatCode>
                <c:ptCount val="365"/>
                <c:pt idx="0">
                  <c:v>19460</c:v>
                </c:pt>
                <c:pt idx="1">
                  <c:v>17256</c:v>
                </c:pt>
                <c:pt idx="2">
                  <c:v>14852</c:v>
                </c:pt>
                <c:pt idx="3">
                  <c:v>18052</c:v>
                </c:pt>
                <c:pt idx="4">
                  <c:v>15510</c:v>
                </c:pt>
                <c:pt idx="5">
                  <c:v>13760</c:v>
                </c:pt>
                <c:pt idx="6">
                  <c:v>13718</c:v>
                </c:pt>
                <c:pt idx="7">
                  <c:v>14918</c:v>
                </c:pt>
                <c:pt idx="8">
                  <c:v>20316</c:v>
                </c:pt>
                <c:pt idx="9">
                  <c:v>14518</c:v>
                </c:pt>
                <c:pt idx="10">
                  <c:v>18532</c:v>
                </c:pt>
                <c:pt idx="11">
                  <c:v>16364</c:v>
                </c:pt>
                <c:pt idx="12">
                  <c:v>10468</c:v>
                </c:pt>
                <c:pt idx="13">
                  <c:v>8106</c:v>
                </c:pt>
                <c:pt idx="14">
                  <c:v>10976</c:v>
                </c:pt>
                <c:pt idx="15">
                  <c:v>11872</c:v>
                </c:pt>
                <c:pt idx="16">
                  <c:v>9842</c:v>
                </c:pt>
                <c:pt idx="17">
                  <c:v>10144</c:v>
                </c:pt>
                <c:pt idx="18">
                  <c:v>10868</c:v>
                </c:pt>
                <c:pt idx="19">
                  <c:v>10816</c:v>
                </c:pt>
                <c:pt idx="20">
                  <c:v>14160</c:v>
                </c:pt>
                <c:pt idx="21">
                  <c:v>18482</c:v>
                </c:pt>
                <c:pt idx="22">
                  <c:v>18462</c:v>
                </c:pt>
                <c:pt idx="23">
                  <c:v>16834</c:v>
                </c:pt>
                <c:pt idx="24">
                  <c:v>15080</c:v>
                </c:pt>
                <c:pt idx="25">
                  <c:v>17344</c:v>
                </c:pt>
                <c:pt idx="26">
                  <c:v>16746</c:v>
                </c:pt>
                <c:pt idx="27">
                  <c:v>11188</c:v>
                </c:pt>
                <c:pt idx="28">
                  <c:v>18972</c:v>
                </c:pt>
                <c:pt idx="29">
                  <c:v>19276</c:v>
                </c:pt>
                <c:pt idx="30">
                  <c:v>14650</c:v>
                </c:pt>
                <c:pt idx="31">
                  <c:v>14774</c:v>
                </c:pt>
                <c:pt idx="32">
                  <c:v>16302</c:v>
                </c:pt>
                <c:pt idx="33">
                  <c:v>15374</c:v>
                </c:pt>
                <c:pt idx="34">
                  <c:v>16832</c:v>
                </c:pt>
                <c:pt idx="35">
                  <c:v>19382</c:v>
                </c:pt>
                <c:pt idx="36">
                  <c:v>18106</c:v>
                </c:pt>
                <c:pt idx="37">
                  <c:v>14062</c:v>
                </c:pt>
                <c:pt idx="38">
                  <c:v>19468</c:v>
                </c:pt>
                <c:pt idx="39">
                  <c:v>19768</c:v>
                </c:pt>
                <c:pt idx="40">
                  <c:v>16034</c:v>
                </c:pt>
                <c:pt idx="41">
                  <c:v>9950</c:v>
                </c:pt>
                <c:pt idx="42">
                  <c:v>18076</c:v>
                </c:pt>
                <c:pt idx="43">
                  <c:v>12050</c:v>
                </c:pt>
                <c:pt idx="44">
                  <c:v>8398</c:v>
                </c:pt>
                <c:pt idx="45">
                  <c:v>12780</c:v>
                </c:pt>
                <c:pt idx="46">
                  <c:v>10852</c:v>
                </c:pt>
                <c:pt idx="47">
                  <c:v>13344</c:v>
                </c:pt>
                <c:pt idx="48">
                  <c:v>12642</c:v>
                </c:pt>
                <c:pt idx="49">
                  <c:v>18778</c:v>
                </c:pt>
                <c:pt idx="50">
                  <c:v>24480</c:v>
                </c:pt>
                <c:pt idx="51">
                  <c:v>20764</c:v>
                </c:pt>
                <c:pt idx="52">
                  <c:v>18918</c:v>
                </c:pt>
                <c:pt idx="53">
                  <c:v>15862</c:v>
                </c:pt>
                <c:pt idx="54">
                  <c:v>16546</c:v>
                </c:pt>
                <c:pt idx="55">
                  <c:v>19560</c:v>
                </c:pt>
                <c:pt idx="56">
                  <c:v>17508</c:v>
                </c:pt>
                <c:pt idx="57">
                  <c:v>16788</c:v>
                </c:pt>
                <c:pt idx="58">
                  <c:v>15068</c:v>
                </c:pt>
                <c:pt idx="59">
                  <c:v>20372</c:v>
                </c:pt>
                <c:pt idx="60">
                  <c:v>23200</c:v>
                </c:pt>
                <c:pt idx="61">
                  <c:v>13116</c:v>
                </c:pt>
                <c:pt idx="62">
                  <c:v>15624</c:v>
                </c:pt>
                <c:pt idx="63">
                  <c:v>14812</c:v>
                </c:pt>
                <c:pt idx="64">
                  <c:v>15224</c:v>
                </c:pt>
                <c:pt idx="65">
                  <c:v>10255</c:v>
                </c:pt>
                <c:pt idx="66">
                  <c:v>12289</c:v>
                </c:pt>
                <c:pt idx="67">
                  <c:v>12406</c:v>
                </c:pt>
                <c:pt idx="68">
                  <c:v>11374</c:v>
                </c:pt>
                <c:pt idx="69">
                  <c:v>10398</c:v>
                </c:pt>
                <c:pt idx="70">
                  <c:v>12537</c:v>
                </c:pt>
                <c:pt idx="71">
                  <c:v>11806</c:v>
                </c:pt>
                <c:pt idx="72">
                  <c:v>15962</c:v>
                </c:pt>
                <c:pt idx="73">
                  <c:v>14789</c:v>
                </c:pt>
                <c:pt idx="74">
                  <c:v>12394</c:v>
                </c:pt>
                <c:pt idx="75">
                  <c:v>12433</c:v>
                </c:pt>
                <c:pt idx="76">
                  <c:v>13824</c:v>
                </c:pt>
                <c:pt idx="77">
                  <c:v>11032</c:v>
                </c:pt>
                <c:pt idx="78">
                  <c:v>11618</c:v>
                </c:pt>
                <c:pt idx="79">
                  <c:v>11533</c:v>
                </c:pt>
                <c:pt idx="80">
                  <c:v>10332</c:v>
                </c:pt>
                <c:pt idx="81">
                  <c:v>10118</c:v>
                </c:pt>
                <c:pt idx="82">
                  <c:v>9076</c:v>
                </c:pt>
                <c:pt idx="83">
                  <c:v>8384</c:v>
                </c:pt>
                <c:pt idx="84">
                  <c:v>8014</c:v>
                </c:pt>
                <c:pt idx="85">
                  <c:v>8501</c:v>
                </c:pt>
                <c:pt idx="86">
                  <c:v>6670</c:v>
                </c:pt>
                <c:pt idx="87">
                  <c:v>6057</c:v>
                </c:pt>
                <c:pt idx="88">
                  <c:v>7180</c:v>
                </c:pt>
                <c:pt idx="89">
                  <c:v>6605</c:v>
                </c:pt>
                <c:pt idx="90">
                  <c:v>4852</c:v>
                </c:pt>
                <c:pt idx="91">
                  <c:v>4589</c:v>
                </c:pt>
                <c:pt idx="92">
                  <c:v>3842</c:v>
                </c:pt>
                <c:pt idx="93">
                  <c:v>4454</c:v>
                </c:pt>
                <c:pt idx="94">
                  <c:v>5686</c:v>
                </c:pt>
                <c:pt idx="95">
                  <c:v>7740</c:v>
                </c:pt>
                <c:pt idx="96">
                  <c:v>8572</c:v>
                </c:pt>
                <c:pt idx="97">
                  <c:v>9857</c:v>
                </c:pt>
                <c:pt idx="98">
                  <c:v>8741</c:v>
                </c:pt>
                <c:pt idx="99">
                  <c:v>9499</c:v>
                </c:pt>
                <c:pt idx="100">
                  <c:v>7739</c:v>
                </c:pt>
                <c:pt idx="101">
                  <c:v>8051</c:v>
                </c:pt>
                <c:pt idx="102">
                  <c:v>8745</c:v>
                </c:pt>
                <c:pt idx="103">
                  <c:v>8622</c:v>
                </c:pt>
                <c:pt idx="104">
                  <c:v>7904</c:v>
                </c:pt>
                <c:pt idx="105">
                  <c:v>8836</c:v>
                </c:pt>
                <c:pt idx="106">
                  <c:v>8376</c:v>
                </c:pt>
                <c:pt idx="107">
                  <c:v>6827</c:v>
                </c:pt>
                <c:pt idx="108">
                  <c:v>6768</c:v>
                </c:pt>
                <c:pt idx="109">
                  <c:v>9157</c:v>
                </c:pt>
                <c:pt idx="110">
                  <c:v>9131</c:v>
                </c:pt>
                <c:pt idx="111">
                  <c:v>8506</c:v>
                </c:pt>
                <c:pt idx="112">
                  <c:v>8446</c:v>
                </c:pt>
                <c:pt idx="113">
                  <c:v>9991</c:v>
                </c:pt>
                <c:pt idx="114">
                  <c:v>7941</c:v>
                </c:pt>
                <c:pt idx="115">
                  <c:v>9407</c:v>
                </c:pt>
                <c:pt idx="116">
                  <c:v>6666</c:v>
                </c:pt>
                <c:pt idx="117">
                  <c:v>6378</c:v>
                </c:pt>
                <c:pt idx="118">
                  <c:v>7104</c:v>
                </c:pt>
                <c:pt idx="119">
                  <c:v>8529</c:v>
                </c:pt>
                <c:pt idx="120">
                  <c:v>7606</c:v>
                </c:pt>
                <c:pt idx="121">
                  <c:v>8310</c:v>
                </c:pt>
                <c:pt idx="122">
                  <c:v>12319</c:v>
                </c:pt>
                <c:pt idx="123">
                  <c:v>9913</c:v>
                </c:pt>
                <c:pt idx="124">
                  <c:v>10610</c:v>
                </c:pt>
                <c:pt idx="125">
                  <c:v>9923</c:v>
                </c:pt>
                <c:pt idx="126">
                  <c:v>11111</c:v>
                </c:pt>
                <c:pt idx="127">
                  <c:v>11523</c:v>
                </c:pt>
                <c:pt idx="128">
                  <c:v>10749</c:v>
                </c:pt>
                <c:pt idx="129">
                  <c:v>8824</c:v>
                </c:pt>
                <c:pt idx="130">
                  <c:v>7900</c:v>
                </c:pt>
                <c:pt idx="131">
                  <c:v>7762</c:v>
                </c:pt>
                <c:pt idx="132">
                  <c:v>7635</c:v>
                </c:pt>
                <c:pt idx="133">
                  <c:v>7358</c:v>
                </c:pt>
                <c:pt idx="134">
                  <c:v>8933</c:v>
                </c:pt>
                <c:pt idx="135">
                  <c:v>7831</c:v>
                </c:pt>
                <c:pt idx="136">
                  <c:v>8546</c:v>
                </c:pt>
                <c:pt idx="137">
                  <c:v>10759</c:v>
                </c:pt>
                <c:pt idx="138">
                  <c:v>11977</c:v>
                </c:pt>
                <c:pt idx="139">
                  <c:v>14898</c:v>
                </c:pt>
                <c:pt idx="140">
                  <c:v>19915</c:v>
                </c:pt>
                <c:pt idx="141">
                  <c:v>21923</c:v>
                </c:pt>
                <c:pt idx="142">
                  <c:v>12519</c:v>
                </c:pt>
                <c:pt idx="143">
                  <c:v>15005</c:v>
                </c:pt>
                <c:pt idx="144">
                  <c:v>16121</c:v>
                </c:pt>
                <c:pt idx="145">
                  <c:v>23280</c:v>
                </c:pt>
                <c:pt idx="146">
                  <c:v>20499</c:v>
                </c:pt>
                <c:pt idx="147">
                  <c:v>19675</c:v>
                </c:pt>
                <c:pt idx="148">
                  <c:v>17653</c:v>
                </c:pt>
                <c:pt idx="149">
                  <c:v>19691</c:v>
                </c:pt>
                <c:pt idx="150">
                  <c:v>16851</c:v>
                </c:pt>
                <c:pt idx="151">
                  <c:v>16619</c:v>
                </c:pt>
                <c:pt idx="152">
                  <c:v>15518</c:v>
                </c:pt>
                <c:pt idx="153">
                  <c:v>12736</c:v>
                </c:pt>
                <c:pt idx="154">
                  <c:v>15224</c:v>
                </c:pt>
                <c:pt idx="155">
                  <c:v>12753</c:v>
                </c:pt>
                <c:pt idx="156">
                  <c:v>13317</c:v>
                </c:pt>
                <c:pt idx="157">
                  <c:v>15161</c:v>
                </c:pt>
                <c:pt idx="158">
                  <c:v>16564</c:v>
                </c:pt>
                <c:pt idx="159">
                  <c:v>15165</c:v>
                </c:pt>
                <c:pt idx="160">
                  <c:v>16832</c:v>
                </c:pt>
                <c:pt idx="161">
                  <c:v>16480</c:v>
                </c:pt>
                <c:pt idx="162">
                  <c:v>14427</c:v>
                </c:pt>
                <c:pt idx="163">
                  <c:v>14400</c:v>
                </c:pt>
                <c:pt idx="164">
                  <c:v>16821</c:v>
                </c:pt>
                <c:pt idx="165">
                  <c:v>15409</c:v>
                </c:pt>
                <c:pt idx="166">
                  <c:v>13564</c:v>
                </c:pt>
                <c:pt idx="167">
                  <c:v>14366</c:v>
                </c:pt>
                <c:pt idx="168">
                  <c:v>13082</c:v>
                </c:pt>
                <c:pt idx="169">
                  <c:v>12443</c:v>
                </c:pt>
                <c:pt idx="170">
                  <c:v>11307</c:v>
                </c:pt>
                <c:pt idx="171">
                  <c:v>13945</c:v>
                </c:pt>
                <c:pt idx="172">
                  <c:v>19258</c:v>
                </c:pt>
                <c:pt idx="173">
                  <c:v>21255</c:v>
                </c:pt>
                <c:pt idx="174">
                  <c:v>18727</c:v>
                </c:pt>
                <c:pt idx="175">
                  <c:v>18853</c:v>
                </c:pt>
                <c:pt idx="176">
                  <c:v>19800</c:v>
                </c:pt>
                <c:pt idx="177">
                  <c:v>15960</c:v>
                </c:pt>
                <c:pt idx="178">
                  <c:v>19929</c:v>
                </c:pt>
                <c:pt idx="179">
                  <c:v>19791</c:v>
                </c:pt>
                <c:pt idx="180">
                  <c:v>14179</c:v>
                </c:pt>
                <c:pt idx="181">
                  <c:v>13233</c:v>
                </c:pt>
                <c:pt idx="182">
                  <c:v>12723</c:v>
                </c:pt>
                <c:pt idx="183">
                  <c:v>15444</c:v>
                </c:pt>
                <c:pt idx="184">
                  <c:v>11233</c:v>
                </c:pt>
                <c:pt idx="185">
                  <c:v>10221</c:v>
                </c:pt>
                <c:pt idx="186">
                  <c:v>10520</c:v>
                </c:pt>
                <c:pt idx="187">
                  <c:v>20077</c:v>
                </c:pt>
                <c:pt idx="188">
                  <c:v>42764</c:v>
                </c:pt>
                <c:pt idx="189">
                  <c:v>41022</c:v>
                </c:pt>
                <c:pt idx="190">
                  <c:v>64899</c:v>
                </c:pt>
                <c:pt idx="191">
                  <c:v>47780</c:v>
                </c:pt>
                <c:pt idx="192">
                  <c:v>40695</c:v>
                </c:pt>
                <c:pt idx="193">
                  <c:v>44359</c:v>
                </c:pt>
                <c:pt idx="194">
                  <c:v>44972</c:v>
                </c:pt>
                <c:pt idx="195">
                  <c:v>39239</c:v>
                </c:pt>
                <c:pt idx="196">
                  <c:v>68880</c:v>
                </c:pt>
                <c:pt idx="197">
                  <c:v>77947</c:v>
                </c:pt>
                <c:pt idx="198">
                  <c:v>60827</c:v>
                </c:pt>
                <c:pt idx="199">
                  <c:v>78123</c:v>
                </c:pt>
                <c:pt idx="200">
                  <c:v>70127</c:v>
                </c:pt>
                <c:pt idx="201">
                  <c:v>51408</c:v>
                </c:pt>
                <c:pt idx="202">
                  <c:v>53061</c:v>
                </c:pt>
                <c:pt idx="203">
                  <c:v>65437</c:v>
                </c:pt>
                <c:pt idx="204">
                  <c:v>52174</c:v>
                </c:pt>
                <c:pt idx="205">
                  <c:v>38001</c:v>
                </c:pt>
                <c:pt idx="206">
                  <c:v>48509</c:v>
                </c:pt>
                <c:pt idx="207">
                  <c:v>49993</c:v>
                </c:pt>
                <c:pt idx="208">
                  <c:v>57902</c:v>
                </c:pt>
                <c:pt idx="209">
                  <c:v>46843</c:v>
                </c:pt>
                <c:pt idx="210">
                  <c:v>63049</c:v>
                </c:pt>
                <c:pt idx="211">
                  <c:v>60591</c:v>
                </c:pt>
                <c:pt idx="212">
                  <c:v>66652</c:v>
                </c:pt>
                <c:pt idx="213">
                  <c:v>73101</c:v>
                </c:pt>
                <c:pt idx="214">
                  <c:v>65550</c:v>
                </c:pt>
                <c:pt idx="215">
                  <c:v>83615</c:v>
                </c:pt>
                <c:pt idx="216">
                  <c:v>58757</c:v>
                </c:pt>
                <c:pt idx="217">
                  <c:v>74395</c:v>
                </c:pt>
                <c:pt idx="218">
                  <c:v>74643</c:v>
                </c:pt>
                <c:pt idx="219">
                  <c:v>87931</c:v>
                </c:pt>
                <c:pt idx="220">
                  <c:v>69419</c:v>
                </c:pt>
                <c:pt idx="221">
                  <c:v>82322</c:v>
                </c:pt>
                <c:pt idx="222">
                  <c:v>95713</c:v>
                </c:pt>
                <c:pt idx="223">
                  <c:v>77782</c:v>
                </c:pt>
                <c:pt idx="224">
                  <c:v>75965</c:v>
                </c:pt>
                <c:pt idx="225">
                  <c:v>86039</c:v>
                </c:pt>
                <c:pt idx="226">
                  <c:v>83498</c:v>
                </c:pt>
                <c:pt idx="227">
                  <c:v>78287</c:v>
                </c:pt>
                <c:pt idx="228">
                  <c:v>87371</c:v>
                </c:pt>
                <c:pt idx="229">
                  <c:v>85204</c:v>
                </c:pt>
                <c:pt idx="230">
                  <c:v>65532</c:v>
                </c:pt>
                <c:pt idx="231">
                  <c:v>72725</c:v>
                </c:pt>
                <c:pt idx="232">
                  <c:v>72922</c:v>
                </c:pt>
                <c:pt idx="233">
                  <c:v>76952</c:v>
                </c:pt>
                <c:pt idx="234">
                  <c:v>93053</c:v>
                </c:pt>
                <c:pt idx="235">
                  <c:v>87657</c:v>
                </c:pt>
                <c:pt idx="236">
                  <c:v>82939</c:v>
                </c:pt>
                <c:pt idx="237">
                  <c:v>78925</c:v>
                </c:pt>
                <c:pt idx="238">
                  <c:v>72104</c:v>
                </c:pt>
                <c:pt idx="239">
                  <c:v>91520</c:v>
                </c:pt>
                <c:pt idx="240">
                  <c:v>76325</c:v>
                </c:pt>
                <c:pt idx="241">
                  <c:v>90306</c:v>
                </c:pt>
                <c:pt idx="242">
                  <c:v>172344</c:v>
                </c:pt>
                <c:pt idx="243">
                  <c:v>114279</c:v>
                </c:pt>
                <c:pt idx="244">
                  <c:v>128642</c:v>
                </c:pt>
                <c:pt idx="245">
                  <c:v>156489</c:v>
                </c:pt>
                <c:pt idx="246">
                  <c:v>164478</c:v>
                </c:pt>
                <c:pt idx="247">
                  <c:v>146419</c:v>
                </c:pt>
                <c:pt idx="248">
                  <c:v>174499</c:v>
                </c:pt>
                <c:pt idx="249">
                  <c:v>167482</c:v>
                </c:pt>
                <c:pt idx="250">
                  <c:v>196712</c:v>
                </c:pt>
                <c:pt idx="251">
                  <c:v>122655</c:v>
                </c:pt>
                <c:pt idx="252">
                  <c:v>109289</c:v>
                </c:pt>
                <c:pt idx="253">
                  <c:v>107472</c:v>
                </c:pt>
                <c:pt idx="254">
                  <c:v>111537</c:v>
                </c:pt>
                <c:pt idx="255">
                  <c:v>122514</c:v>
                </c:pt>
                <c:pt idx="256">
                  <c:v>128969</c:v>
                </c:pt>
                <c:pt idx="257">
                  <c:v>105283</c:v>
                </c:pt>
                <c:pt idx="258">
                  <c:v>105968</c:v>
                </c:pt>
                <c:pt idx="259">
                  <c:v>106305</c:v>
                </c:pt>
                <c:pt idx="260">
                  <c:v>119104</c:v>
                </c:pt>
                <c:pt idx="261">
                  <c:v>125403</c:v>
                </c:pt>
                <c:pt idx="262">
                  <c:v>137467</c:v>
                </c:pt>
                <c:pt idx="263">
                  <c:v>121821</c:v>
                </c:pt>
                <c:pt idx="264">
                  <c:v>115817</c:v>
                </c:pt>
                <c:pt idx="265">
                  <c:v>111226</c:v>
                </c:pt>
                <c:pt idx="266">
                  <c:v>109405</c:v>
                </c:pt>
                <c:pt idx="267">
                  <c:v>114959</c:v>
                </c:pt>
                <c:pt idx="268">
                  <c:v>99649</c:v>
                </c:pt>
                <c:pt idx="269">
                  <c:v>97492</c:v>
                </c:pt>
                <c:pt idx="270">
                  <c:v>92669</c:v>
                </c:pt>
                <c:pt idx="271">
                  <c:v>78500</c:v>
                </c:pt>
                <c:pt idx="272">
                  <c:v>90678</c:v>
                </c:pt>
                <c:pt idx="273">
                  <c:v>103718</c:v>
                </c:pt>
                <c:pt idx="274">
                  <c:v>103489</c:v>
                </c:pt>
                <c:pt idx="275">
                  <c:v>114495</c:v>
                </c:pt>
                <c:pt idx="276">
                  <c:v>103164</c:v>
                </c:pt>
                <c:pt idx="277">
                  <c:v>80617</c:v>
                </c:pt>
                <c:pt idx="278">
                  <c:v>74145</c:v>
                </c:pt>
                <c:pt idx="279">
                  <c:v>65299</c:v>
                </c:pt>
                <c:pt idx="280">
                  <c:v>87509</c:v>
                </c:pt>
                <c:pt idx="281">
                  <c:v>96039</c:v>
                </c:pt>
                <c:pt idx="282">
                  <c:v>84741</c:v>
                </c:pt>
                <c:pt idx="283">
                  <c:v>87264</c:v>
                </c:pt>
                <c:pt idx="284">
                  <c:v>85229</c:v>
                </c:pt>
                <c:pt idx="285">
                  <c:v>90312</c:v>
                </c:pt>
                <c:pt idx="286">
                  <c:v>90434</c:v>
                </c:pt>
                <c:pt idx="287">
                  <c:v>81783</c:v>
                </c:pt>
                <c:pt idx="288">
                  <c:v>69102</c:v>
                </c:pt>
                <c:pt idx="289">
                  <c:v>72370</c:v>
                </c:pt>
                <c:pt idx="290">
                  <c:v>89886</c:v>
                </c:pt>
                <c:pt idx="291">
                  <c:v>86419</c:v>
                </c:pt>
                <c:pt idx="292">
                  <c:v>96150</c:v>
                </c:pt>
                <c:pt idx="293">
                  <c:v>114003</c:v>
                </c:pt>
                <c:pt idx="294">
                  <c:v>108927</c:v>
                </c:pt>
                <c:pt idx="295">
                  <c:v>109045</c:v>
                </c:pt>
                <c:pt idx="296">
                  <c:v>101386</c:v>
                </c:pt>
                <c:pt idx="297">
                  <c:v>96013</c:v>
                </c:pt>
                <c:pt idx="298">
                  <c:v>98126</c:v>
                </c:pt>
                <c:pt idx="299">
                  <c:v>97115</c:v>
                </c:pt>
                <c:pt idx="300">
                  <c:v>108496</c:v>
                </c:pt>
                <c:pt idx="301">
                  <c:v>136418</c:v>
                </c:pt>
                <c:pt idx="302">
                  <c:v>117455</c:v>
                </c:pt>
                <c:pt idx="303">
                  <c:v>116901</c:v>
                </c:pt>
                <c:pt idx="304">
                  <c:v>115731</c:v>
                </c:pt>
                <c:pt idx="305">
                  <c:v>118569</c:v>
                </c:pt>
                <c:pt idx="306">
                  <c:v>113474</c:v>
                </c:pt>
                <c:pt idx="307">
                  <c:v>119601</c:v>
                </c:pt>
                <c:pt idx="308">
                  <c:v>98844</c:v>
                </c:pt>
                <c:pt idx="309">
                  <c:v>91976</c:v>
                </c:pt>
                <c:pt idx="310">
                  <c:v>80865</c:v>
                </c:pt>
                <c:pt idx="311">
                  <c:v>80620</c:v>
                </c:pt>
                <c:pt idx="312">
                  <c:v>87259</c:v>
                </c:pt>
                <c:pt idx="313">
                  <c:v>98535</c:v>
                </c:pt>
                <c:pt idx="314">
                  <c:v>88628</c:v>
                </c:pt>
                <c:pt idx="315">
                  <c:v>68177</c:v>
                </c:pt>
                <c:pt idx="316">
                  <c:v>74788</c:v>
                </c:pt>
                <c:pt idx="317">
                  <c:v>74898</c:v>
                </c:pt>
                <c:pt idx="318">
                  <c:v>89018</c:v>
                </c:pt>
                <c:pt idx="319">
                  <c:v>98485</c:v>
                </c:pt>
                <c:pt idx="320">
                  <c:v>93609</c:v>
                </c:pt>
                <c:pt idx="321">
                  <c:v>88256</c:v>
                </c:pt>
                <c:pt idx="322">
                  <c:v>107003</c:v>
                </c:pt>
                <c:pt idx="323">
                  <c:v>85490</c:v>
                </c:pt>
                <c:pt idx="324">
                  <c:v>63563</c:v>
                </c:pt>
                <c:pt idx="325">
                  <c:v>68630</c:v>
                </c:pt>
                <c:pt idx="326">
                  <c:v>72780</c:v>
                </c:pt>
                <c:pt idx="327">
                  <c:v>75737</c:v>
                </c:pt>
                <c:pt idx="328">
                  <c:v>76681</c:v>
                </c:pt>
                <c:pt idx="329">
                  <c:v>75903</c:v>
                </c:pt>
                <c:pt idx="330">
                  <c:v>70380</c:v>
                </c:pt>
                <c:pt idx="331">
                  <c:v>59017</c:v>
                </c:pt>
                <c:pt idx="332">
                  <c:v>67251</c:v>
                </c:pt>
                <c:pt idx="333">
                  <c:v>70340</c:v>
                </c:pt>
                <c:pt idx="334">
                  <c:v>75238</c:v>
                </c:pt>
                <c:pt idx="335">
                  <c:v>58545</c:v>
                </c:pt>
                <c:pt idx="336">
                  <c:v>69840</c:v>
                </c:pt>
                <c:pt idx="337">
                  <c:v>63056</c:v>
                </c:pt>
                <c:pt idx="338">
                  <c:v>56309</c:v>
                </c:pt>
                <c:pt idx="339">
                  <c:v>64812</c:v>
                </c:pt>
                <c:pt idx="340">
                  <c:v>69530</c:v>
                </c:pt>
                <c:pt idx="341">
                  <c:v>68080</c:v>
                </c:pt>
                <c:pt idx="342">
                  <c:v>64330</c:v>
                </c:pt>
                <c:pt idx="343">
                  <c:v>49951</c:v>
                </c:pt>
                <c:pt idx="344">
                  <c:v>50218</c:v>
                </c:pt>
                <c:pt idx="345">
                  <c:v>53516</c:v>
                </c:pt>
                <c:pt idx="346">
                  <c:v>59832</c:v>
                </c:pt>
                <c:pt idx="347">
                  <c:v>67987</c:v>
                </c:pt>
                <c:pt idx="348">
                  <c:v>56936</c:v>
                </c:pt>
                <c:pt idx="349">
                  <c:v>54509</c:v>
                </c:pt>
                <c:pt idx="350">
                  <c:v>55579</c:v>
                </c:pt>
                <c:pt idx="351">
                  <c:v>51391</c:v>
                </c:pt>
                <c:pt idx="352">
                  <c:v>48075</c:v>
                </c:pt>
                <c:pt idx="353">
                  <c:v>46686</c:v>
                </c:pt>
                <c:pt idx="354">
                  <c:v>46407</c:v>
                </c:pt>
                <c:pt idx="355">
                  <c:v>44709</c:v>
                </c:pt>
                <c:pt idx="356">
                  <c:v>54173</c:v>
                </c:pt>
                <c:pt idx="357">
                  <c:v>68640</c:v>
                </c:pt>
                <c:pt idx="358">
                  <c:v>61229</c:v>
                </c:pt>
                <c:pt idx="359">
                  <c:v>61464</c:v>
                </c:pt>
                <c:pt idx="360">
                  <c:v>67195</c:v>
                </c:pt>
                <c:pt idx="361">
                  <c:v>75215</c:v>
                </c:pt>
                <c:pt idx="362">
                  <c:v>83287</c:v>
                </c:pt>
                <c:pt idx="363">
                  <c:v>62322</c:v>
                </c:pt>
                <c:pt idx="364">
                  <c:v>768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001-464D-9894-9DA9E76B0E8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AI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F$2:$F$366</c:f>
              <c:numCache>
                <c:formatCode>General</c:formatCode>
                <c:ptCount val="365"/>
                <c:pt idx="0">
                  <c:v>558</c:v>
                </c:pt>
                <c:pt idx="1">
                  <c:v>552</c:v>
                </c:pt>
                <c:pt idx="2">
                  <c:v>748</c:v>
                </c:pt>
                <c:pt idx="3">
                  <c:v>682</c:v>
                </c:pt>
                <c:pt idx="4">
                  <c:v>516</c:v>
                </c:pt>
                <c:pt idx="5">
                  <c:v>390</c:v>
                </c:pt>
                <c:pt idx="6">
                  <c:v>544</c:v>
                </c:pt>
                <c:pt idx="7">
                  <c:v>544</c:v>
                </c:pt>
                <c:pt idx="8">
                  <c:v>604</c:v>
                </c:pt>
                <c:pt idx="9">
                  <c:v>826</c:v>
                </c:pt>
                <c:pt idx="10">
                  <c:v>838</c:v>
                </c:pt>
                <c:pt idx="11">
                  <c:v>642</c:v>
                </c:pt>
                <c:pt idx="12">
                  <c:v>726</c:v>
                </c:pt>
                <c:pt idx="13">
                  <c:v>616</c:v>
                </c:pt>
                <c:pt idx="14">
                  <c:v>672</c:v>
                </c:pt>
                <c:pt idx="15">
                  <c:v>364</c:v>
                </c:pt>
                <c:pt idx="16">
                  <c:v>446</c:v>
                </c:pt>
                <c:pt idx="17">
                  <c:v>480</c:v>
                </c:pt>
                <c:pt idx="18">
                  <c:v>420</c:v>
                </c:pt>
                <c:pt idx="19">
                  <c:v>560</c:v>
                </c:pt>
                <c:pt idx="20">
                  <c:v>580</c:v>
                </c:pt>
                <c:pt idx="21">
                  <c:v>594</c:v>
                </c:pt>
                <c:pt idx="22">
                  <c:v>700</c:v>
                </c:pt>
                <c:pt idx="23">
                  <c:v>650</c:v>
                </c:pt>
                <c:pt idx="24">
                  <c:v>580</c:v>
                </c:pt>
                <c:pt idx="25">
                  <c:v>594</c:v>
                </c:pt>
                <c:pt idx="26">
                  <c:v>790</c:v>
                </c:pt>
                <c:pt idx="27">
                  <c:v>742</c:v>
                </c:pt>
                <c:pt idx="28">
                  <c:v>546</c:v>
                </c:pt>
                <c:pt idx="29">
                  <c:v>638</c:v>
                </c:pt>
                <c:pt idx="30">
                  <c:v>804</c:v>
                </c:pt>
                <c:pt idx="31">
                  <c:v>1162</c:v>
                </c:pt>
                <c:pt idx="32">
                  <c:v>1018</c:v>
                </c:pt>
                <c:pt idx="33">
                  <c:v>828</c:v>
                </c:pt>
                <c:pt idx="34">
                  <c:v>966</c:v>
                </c:pt>
                <c:pt idx="35">
                  <c:v>898</c:v>
                </c:pt>
                <c:pt idx="36">
                  <c:v>824</c:v>
                </c:pt>
                <c:pt idx="37">
                  <c:v>846</c:v>
                </c:pt>
                <c:pt idx="38">
                  <c:v>996</c:v>
                </c:pt>
                <c:pt idx="39">
                  <c:v>1144</c:v>
                </c:pt>
                <c:pt idx="40">
                  <c:v>1434</c:v>
                </c:pt>
                <c:pt idx="41">
                  <c:v>1020</c:v>
                </c:pt>
                <c:pt idx="42">
                  <c:v>712</c:v>
                </c:pt>
                <c:pt idx="43">
                  <c:v>824</c:v>
                </c:pt>
                <c:pt idx="44">
                  <c:v>950</c:v>
                </c:pt>
                <c:pt idx="45">
                  <c:v>1036</c:v>
                </c:pt>
                <c:pt idx="46">
                  <c:v>928</c:v>
                </c:pt>
                <c:pt idx="47">
                  <c:v>994</c:v>
                </c:pt>
                <c:pt idx="48">
                  <c:v>708</c:v>
                </c:pt>
                <c:pt idx="49">
                  <c:v>556</c:v>
                </c:pt>
                <c:pt idx="50">
                  <c:v>872</c:v>
                </c:pt>
                <c:pt idx="51">
                  <c:v>976</c:v>
                </c:pt>
                <c:pt idx="52">
                  <c:v>848</c:v>
                </c:pt>
                <c:pt idx="53">
                  <c:v>828</c:v>
                </c:pt>
                <c:pt idx="54">
                  <c:v>830</c:v>
                </c:pt>
                <c:pt idx="55">
                  <c:v>936</c:v>
                </c:pt>
                <c:pt idx="56">
                  <c:v>996</c:v>
                </c:pt>
                <c:pt idx="57">
                  <c:v>1292</c:v>
                </c:pt>
                <c:pt idx="58">
                  <c:v>1658</c:v>
                </c:pt>
                <c:pt idx="59">
                  <c:v>1604</c:v>
                </c:pt>
                <c:pt idx="60">
                  <c:v>1398</c:v>
                </c:pt>
                <c:pt idx="61">
                  <c:v>623</c:v>
                </c:pt>
                <c:pt idx="62">
                  <c:v>827</c:v>
                </c:pt>
                <c:pt idx="63">
                  <c:v>751</c:v>
                </c:pt>
                <c:pt idx="64">
                  <c:v>842</c:v>
                </c:pt>
                <c:pt idx="65">
                  <c:v>757</c:v>
                </c:pt>
                <c:pt idx="66">
                  <c:v>730</c:v>
                </c:pt>
                <c:pt idx="67">
                  <c:v>760</c:v>
                </c:pt>
                <c:pt idx="68">
                  <c:v>686</c:v>
                </c:pt>
                <c:pt idx="69">
                  <c:v>453</c:v>
                </c:pt>
                <c:pt idx="70">
                  <c:v>455</c:v>
                </c:pt>
                <c:pt idx="71">
                  <c:v>515</c:v>
                </c:pt>
                <c:pt idx="72">
                  <c:v>649</c:v>
                </c:pt>
                <c:pt idx="73">
                  <c:v>667</c:v>
                </c:pt>
                <c:pt idx="74">
                  <c:v>577</c:v>
                </c:pt>
                <c:pt idx="75">
                  <c:v>557</c:v>
                </c:pt>
                <c:pt idx="76">
                  <c:v>625</c:v>
                </c:pt>
                <c:pt idx="77">
                  <c:v>430</c:v>
                </c:pt>
                <c:pt idx="78">
                  <c:v>537</c:v>
                </c:pt>
                <c:pt idx="79">
                  <c:v>568</c:v>
                </c:pt>
                <c:pt idx="80">
                  <c:v>627</c:v>
                </c:pt>
                <c:pt idx="81">
                  <c:v>750</c:v>
                </c:pt>
                <c:pt idx="82">
                  <c:v>735</c:v>
                </c:pt>
                <c:pt idx="83">
                  <c:v>632</c:v>
                </c:pt>
                <c:pt idx="84">
                  <c:v>637</c:v>
                </c:pt>
                <c:pt idx="85">
                  <c:v>682</c:v>
                </c:pt>
                <c:pt idx="86">
                  <c:v>923</c:v>
                </c:pt>
                <c:pt idx="87">
                  <c:v>1008</c:v>
                </c:pt>
                <c:pt idx="88">
                  <c:v>1048</c:v>
                </c:pt>
                <c:pt idx="89">
                  <c:v>756</c:v>
                </c:pt>
                <c:pt idx="90">
                  <c:v>759</c:v>
                </c:pt>
                <c:pt idx="91">
                  <c:v>606</c:v>
                </c:pt>
                <c:pt idx="92">
                  <c:v>743</c:v>
                </c:pt>
                <c:pt idx="93">
                  <c:v>884</c:v>
                </c:pt>
                <c:pt idx="94">
                  <c:v>793</c:v>
                </c:pt>
                <c:pt idx="95">
                  <c:v>866</c:v>
                </c:pt>
                <c:pt idx="96">
                  <c:v>849</c:v>
                </c:pt>
                <c:pt idx="97">
                  <c:v>882</c:v>
                </c:pt>
                <c:pt idx="98">
                  <c:v>877</c:v>
                </c:pt>
                <c:pt idx="99">
                  <c:v>843</c:v>
                </c:pt>
                <c:pt idx="100">
                  <c:v>894</c:v>
                </c:pt>
                <c:pt idx="101">
                  <c:v>1199</c:v>
                </c:pt>
                <c:pt idx="102">
                  <c:v>903</c:v>
                </c:pt>
                <c:pt idx="103">
                  <c:v>697</c:v>
                </c:pt>
                <c:pt idx="104">
                  <c:v>865</c:v>
                </c:pt>
                <c:pt idx="105">
                  <c:v>857</c:v>
                </c:pt>
                <c:pt idx="106">
                  <c:v>679</c:v>
                </c:pt>
                <c:pt idx="107">
                  <c:v>1055</c:v>
                </c:pt>
                <c:pt idx="108">
                  <c:v>974</c:v>
                </c:pt>
                <c:pt idx="109">
                  <c:v>1176</c:v>
                </c:pt>
                <c:pt idx="110">
                  <c:v>955</c:v>
                </c:pt>
                <c:pt idx="111">
                  <c:v>1047</c:v>
                </c:pt>
                <c:pt idx="112">
                  <c:v>811</c:v>
                </c:pt>
                <c:pt idx="113">
                  <c:v>852</c:v>
                </c:pt>
                <c:pt idx="114">
                  <c:v>649</c:v>
                </c:pt>
                <c:pt idx="115">
                  <c:v>956</c:v>
                </c:pt>
                <c:pt idx="116">
                  <c:v>790</c:v>
                </c:pt>
                <c:pt idx="117">
                  <c:v>786</c:v>
                </c:pt>
                <c:pt idx="118">
                  <c:v>912</c:v>
                </c:pt>
                <c:pt idx="119">
                  <c:v>674</c:v>
                </c:pt>
                <c:pt idx="120">
                  <c:v>491</c:v>
                </c:pt>
                <c:pt idx="121">
                  <c:v>475</c:v>
                </c:pt>
                <c:pt idx="122">
                  <c:v>647</c:v>
                </c:pt>
                <c:pt idx="123">
                  <c:v>637</c:v>
                </c:pt>
                <c:pt idx="124">
                  <c:v>816</c:v>
                </c:pt>
                <c:pt idx="125">
                  <c:v>863</c:v>
                </c:pt>
                <c:pt idx="126">
                  <c:v>567</c:v>
                </c:pt>
                <c:pt idx="127">
                  <c:v>368</c:v>
                </c:pt>
                <c:pt idx="128">
                  <c:v>777</c:v>
                </c:pt>
                <c:pt idx="129">
                  <c:v>1123</c:v>
                </c:pt>
                <c:pt idx="130">
                  <c:v>737</c:v>
                </c:pt>
                <c:pt idx="131">
                  <c:v>757</c:v>
                </c:pt>
                <c:pt idx="132">
                  <c:v>803</c:v>
                </c:pt>
                <c:pt idx="133">
                  <c:v>570</c:v>
                </c:pt>
                <c:pt idx="134">
                  <c:v>836</c:v>
                </c:pt>
                <c:pt idx="135">
                  <c:v>744</c:v>
                </c:pt>
                <c:pt idx="136">
                  <c:v>745</c:v>
                </c:pt>
                <c:pt idx="137">
                  <c:v>667</c:v>
                </c:pt>
                <c:pt idx="138">
                  <c:v>678</c:v>
                </c:pt>
                <c:pt idx="139">
                  <c:v>900</c:v>
                </c:pt>
                <c:pt idx="140">
                  <c:v>882</c:v>
                </c:pt>
                <c:pt idx="141">
                  <c:v>1080</c:v>
                </c:pt>
                <c:pt idx="142">
                  <c:v>1203</c:v>
                </c:pt>
                <c:pt idx="143">
                  <c:v>919</c:v>
                </c:pt>
                <c:pt idx="144">
                  <c:v>878</c:v>
                </c:pt>
                <c:pt idx="145">
                  <c:v>1013</c:v>
                </c:pt>
                <c:pt idx="146">
                  <c:v>926</c:v>
                </c:pt>
                <c:pt idx="147">
                  <c:v>560</c:v>
                </c:pt>
                <c:pt idx="148">
                  <c:v>523</c:v>
                </c:pt>
                <c:pt idx="149">
                  <c:v>522</c:v>
                </c:pt>
                <c:pt idx="150">
                  <c:v>658</c:v>
                </c:pt>
                <c:pt idx="151">
                  <c:v>706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3068</c:v>
                </c:pt>
                <c:pt idx="179">
                  <c:v>14755</c:v>
                </c:pt>
                <c:pt idx="180">
                  <c:v>12727</c:v>
                </c:pt>
                <c:pt idx="181">
                  <c:v>9644</c:v>
                </c:pt>
                <c:pt idx="182">
                  <c:v>11700</c:v>
                </c:pt>
                <c:pt idx="183">
                  <c:v>12922</c:v>
                </c:pt>
                <c:pt idx="184">
                  <c:v>9153</c:v>
                </c:pt>
                <c:pt idx="185">
                  <c:v>12283</c:v>
                </c:pt>
                <c:pt idx="186">
                  <c:v>10383</c:v>
                </c:pt>
                <c:pt idx="187">
                  <c:v>9080</c:v>
                </c:pt>
                <c:pt idx="188">
                  <c:v>10937</c:v>
                </c:pt>
                <c:pt idx="189">
                  <c:v>18905</c:v>
                </c:pt>
                <c:pt idx="190">
                  <c:v>14421</c:v>
                </c:pt>
                <c:pt idx="191">
                  <c:v>17469</c:v>
                </c:pt>
                <c:pt idx="192">
                  <c:v>19745</c:v>
                </c:pt>
                <c:pt idx="193">
                  <c:v>26084</c:v>
                </c:pt>
                <c:pt idx="194">
                  <c:v>23383</c:v>
                </c:pt>
                <c:pt idx="195">
                  <c:v>25689</c:v>
                </c:pt>
                <c:pt idx="196">
                  <c:v>24175</c:v>
                </c:pt>
                <c:pt idx="197">
                  <c:v>22911</c:v>
                </c:pt>
                <c:pt idx="198">
                  <c:v>22130</c:v>
                </c:pt>
                <c:pt idx="199">
                  <c:v>24597</c:v>
                </c:pt>
                <c:pt idx="200">
                  <c:v>26570</c:v>
                </c:pt>
                <c:pt idx="201">
                  <c:v>21212</c:v>
                </c:pt>
                <c:pt idx="202">
                  <c:v>23095</c:v>
                </c:pt>
                <c:pt idx="203">
                  <c:v>22550</c:v>
                </c:pt>
                <c:pt idx="204">
                  <c:v>18958</c:v>
                </c:pt>
                <c:pt idx="205">
                  <c:v>18898</c:v>
                </c:pt>
                <c:pt idx="206">
                  <c:v>22571</c:v>
                </c:pt>
                <c:pt idx="207">
                  <c:v>22009</c:v>
                </c:pt>
                <c:pt idx="208">
                  <c:v>21866</c:v>
                </c:pt>
                <c:pt idx="209">
                  <c:v>24257</c:v>
                </c:pt>
                <c:pt idx="210">
                  <c:v>20912</c:v>
                </c:pt>
                <c:pt idx="211">
                  <c:v>22483</c:v>
                </c:pt>
                <c:pt idx="212">
                  <c:v>20776</c:v>
                </c:pt>
                <c:pt idx="213">
                  <c:v>25447</c:v>
                </c:pt>
                <c:pt idx="214">
                  <c:v>30846</c:v>
                </c:pt>
                <c:pt idx="215">
                  <c:v>21929</c:v>
                </c:pt>
                <c:pt idx="216">
                  <c:v>24621</c:v>
                </c:pt>
                <c:pt idx="217">
                  <c:v>28623</c:v>
                </c:pt>
                <c:pt idx="218">
                  <c:v>23848</c:v>
                </c:pt>
                <c:pt idx="219">
                  <c:v>22919</c:v>
                </c:pt>
                <c:pt idx="220">
                  <c:v>22448</c:v>
                </c:pt>
                <c:pt idx="221">
                  <c:v>18833</c:v>
                </c:pt>
                <c:pt idx="222">
                  <c:v>14230</c:v>
                </c:pt>
                <c:pt idx="223">
                  <c:v>18999</c:v>
                </c:pt>
                <c:pt idx="224">
                  <c:v>21257</c:v>
                </c:pt>
                <c:pt idx="225">
                  <c:v>12952</c:v>
                </c:pt>
                <c:pt idx="226">
                  <c:v>12443</c:v>
                </c:pt>
                <c:pt idx="227">
                  <c:v>14286</c:v>
                </c:pt>
                <c:pt idx="228">
                  <c:v>17626</c:v>
                </c:pt>
                <c:pt idx="229">
                  <c:v>22729</c:v>
                </c:pt>
                <c:pt idx="230">
                  <c:v>14860</c:v>
                </c:pt>
                <c:pt idx="231">
                  <c:v>16207</c:v>
                </c:pt>
                <c:pt idx="232">
                  <c:v>17608</c:v>
                </c:pt>
                <c:pt idx="233">
                  <c:v>13576</c:v>
                </c:pt>
                <c:pt idx="234">
                  <c:v>23710</c:v>
                </c:pt>
                <c:pt idx="235">
                  <c:v>22264</c:v>
                </c:pt>
                <c:pt idx="236">
                  <c:v>19780</c:v>
                </c:pt>
                <c:pt idx="237">
                  <c:v>18558</c:v>
                </c:pt>
                <c:pt idx="238">
                  <c:v>17380</c:v>
                </c:pt>
                <c:pt idx="239">
                  <c:v>17114</c:v>
                </c:pt>
                <c:pt idx="240">
                  <c:v>15534</c:v>
                </c:pt>
                <c:pt idx="241">
                  <c:v>12071</c:v>
                </c:pt>
                <c:pt idx="242">
                  <c:v>23809</c:v>
                </c:pt>
                <c:pt idx="243">
                  <c:v>11349</c:v>
                </c:pt>
                <c:pt idx="244">
                  <c:v>11752</c:v>
                </c:pt>
                <c:pt idx="245">
                  <c:v>13491</c:v>
                </c:pt>
                <c:pt idx="246">
                  <c:v>26473</c:v>
                </c:pt>
                <c:pt idx="247">
                  <c:v>24274</c:v>
                </c:pt>
                <c:pt idx="248">
                  <c:v>27172</c:v>
                </c:pt>
                <c:pt idx="249">
                  <c:v>31676</c:v>
                </c:pt>
                <c:pt idx="250">
                  <c:v>13564</c:v>
                </c:pt>
                <c:pt idx="251">
                  <c:v>9424</c:v>
                </c:pt>
                <c:pt idx="252">
                  <c:v>10051</c:v>
                </c:pt>
                <c:pt idx="253">
                  <c:v>10606</c:v>
                </c:pt>
                <c:pt idx="254">
                  <c:v>12555</c:v>
                </c:pt>
                <c:pt idx="255">
                  <c:v>23977</c:v>
                </c:pt>
                <c:pt idx="256">
                  <c:v>29897</c:v>
                </c:pt>
                <c:pt idx="257">
                  <c:v>23945</c:v>
                </c:pt>
                <c:pt idx="258">
                  <c:v>19355</c:v>
                </c:pt>
                <c:pt idx="259">
                  <c:v>18849</c:v>
                </c:pt>
                <c:pt idx="260">
                  <c:v>21831</c:v>
                </c:pt>
                <c:pt idx="261">
                  <c:v>22115</c:v>
                </c:pt>
                <c:pt idx="262">
                  <c:v>21262</c:v>
                </c:pt>
                <c:pt idx="263">
                  <c:v>18842</c:v>
                </c:pt>
                <c:pt idx="264">
                  <c:v>18060</c:v>
                </c:pt>
                <c:pt idx="265">
                  <c:v>22025</c:v>
                </c:pt>
                <c:pt idx="266">
                  <c:v>21714</c:v>
                </c:pt>
                <c:pt idx="267">
                  <c:v>19250</c:v>
                </c:pt>
                <c:pt idx="268">
                  <c:v>19993</c:v>
                </c:pt>
                <c:pt idx="269">
                  <c:v>16950</c:v>
                </c:pt>
                <c:pt idx="270">
                  <c:v>17480</c:v>
                </c:pt>
                <c:pt idx="271">
                  <c:v>16473</c:v>
                </c:pt>
                <c:pt idx="272">
                  <c:v>18664</c:v>
                </c:pt>
                <c:pt idx="273">
                  <c:v>17361</c:v>
                </c:pt>
                <c:pt idx="274">
                  <c:v>14904</c:v>
                </c:pt>
                <c:pt idx="275">
                  <c:v>13470</c:v>
                </c:pt>
                <c:pt idx="276">
                  <c:v>14120</c:v>
                </c:pt>
                <c:pt idx="277">
                  <c:v>17335</c:v>
                </c:pt>
                <c:pt idx="278">
                  <c:v>15487</c:v>
                </c:pt>
                <c:pt idx="279">
                  <c:v>13264</c:v>
                </c:pt>
                <c:pt idx="280">
                  <c:v>13559</c:v>
                </c:pt>
                <c:pt idx="281">
                  <c:v>14711</c:v>
                </c:pt>
                <c:pt idx="282">
                  <c:v>17022</c:v>
                </c:pt>
                <c:pt idx="283">
                  <c:v>17893</c:v>
                </c:pt>
                <c:pt idx="284">
                  <c:v>15446</c:v>
                </c:pt>
                <c:pt idx="285">
                  <c:v>15836</c:v>
                </c:pt>
                <c:pt idx="286">
                  <c:v>16200</c:v>
                </c:pt>
                <c:pt idx="287">
                  <c:v>18429</c:v>
                </c:pt>
                <c:pt idx="288">
                  <c:v>20051</c:v>
                </c:pt>
                <c:pt idx="289">
                  <c:v>28055</c:v>
                </c:pt>
                <c:pt idx="290">
                  <c:v>32789</c:v>
                </c:pt>
                <c:pt idx="291">
                  <c:v>28229</c:v>
                </c:pt>
                <c:pt idx="292">
                  <c:v>28256</c:v>
                </c:pt>
                <c:pt idx="293">
                  <c:v>15670</c:v>
                </c:pt>
                <c:pt idx="294">
                  <c:v>17444</c:v>
                </c:pt>
                <c:pt idx="295">
                  <c:v>16995</c:v>
                </c:pt>
                <c:pt idx="296">
                  <c:v>13242</c:v>
                </c:pt>
                <c:pt idx="297">
                  <c:v>14109</c:v>
                </c:pt>
                <c:pt idx="298">
                  <c:v>13030</c:v>
                </c:pt>
                <c:pt idx="299">
                  <c:v>14893</c:v>
                </c:pt>
                <c:pt idx="300">
                  <c:v>14780</c:v>
                </c:pt>
                <c:pt idx="301">
                  <c:v>15682</c:v>
                </c:pt>
                <c:pt idx="302">
                  <c:v>16940</c:v>
                </c:pt>
                <c:pt idx="303">
                  <c:v>13194</c:v>
                </c:pt>
                <c:pt idx="304">
                  <c:v>15206</c:v>
                </c:pt>
                <c:pt idx="305">
                  <c:v>17255</c:v>
                </c:pt>
                <c:pt idx="306">
                  <c:v>15236</c:v>
                </c:pt>
                <c:pt idx="307">
                  <c:v>14632</c:v>
                </c:pt>
                <c:pt idx="308">
                  <c:v>15729</c:v>
                </c:pt>
                <c:pt idx="309">
                  <c:v>13379</c:v>
                </c:pt>
                <c:pt idx="310">
                  <c:v>13242</c:v>
                </c:pt>
                <c:pt idx="311">
                  <c:v>15317</c:v>
                </c:pt>
                <c:pt idx="312">
                  <c:v>16514</c:v>
                </c:pt>
                <c:pt idx="313">
                  <c:v>16557</c:v>
                </c:pt>
                <c:pt idx="314">
                  <c:v>14235</c:v>
                </c:pt>
                <c:pt idx="315">
                  <c:v>11404</c:v>
                </c:pt>
                <c:pt idx="316">
                  <c:v>12989</c:v>
                </c:pt>
                <c:pt idx="317">
                  <c:v>12833</c:v>
                </c:pt>
                <c:pt idx="318">
                  <c:v>14252</c:v>
                </c:pt>
                <c:pt idx="319">
                  <c:v>16285</c:v>
                </c:pt>
                <c:pt idx="320">
                  <c:v>15636</c:v>
                </c:pt>
                <c:pt idx="321">
                  <c:v>13514</c:v>
                </c:pt>
                <c:pt idx="322">
                  <c:v>14117</c:v>
                </c:pt>
                <c:pt idx="323">
                  <c:v>13530</c:v>
                </c:pt>
                <c:pt idx="324">
                  <c:v>11151</c:v>
                </c:pt>
                <c:pt idx="325">
                  <c:v>12015</c:v>
                </c:pt>
                <c:pt idx="326">
                  <c:v>13344</c:v>
                </c:pt>
                <c:pt idx="327">
                  <c:v>14291</c:v>
                </c:pt>
                <c:pt idx="328">
                  <c:v>13109</c:v>
                </c:pt>
                <c:pt idx="329">
                  <c:v>9270</c:v>
                </c:pt>
                <c:pt idx="330">
                  <c:v>10656</c:v>
                </c:pt>
                <c:pt idx="331">
                  <c:v>11633</c:v>
                </c:pt>
                <c:pt idx="332">
                  <c:v>12806</c:v>
                </c:pt>
                <c:pt idx="333">
                  <c:v>14786</c:v>
                </c:pt>
                <c:pt idx="334">
                  <c:v>12096</c:v>
                </c:pt>
                <c:pt idx="335">
                  <c:v>11342</c:v>
                </c:pt>
                <c:pt idx="336">
                  <c:v>11818</c:v>
                </c:pt>
                <c:pt idx="337">
                  <c:v>10489</c:v>
                </c:pt>
                <c:pt idx="338">
                  <c:v>10354</c:v>
                </c:pt>
                <c:pt idx="339">
                  <c:v>13200</c:v>
                </c:pt>
                <c:pt idx="340">
                  <c:v>14467</c:v>
                </c:pt>
                <c:pt idx="341">
                  <c:v>11832</c:v>
                </c:pt>
                <c:pt idx="342">
                  <c:v>11442</c:v>
                </c:pt>
                <c:pt idx="343">
                  <c:v>10813</c:v>
                </c:pt>
                <c:pt idx="344">
                  <c:v>11196</c:v>
                </c:pt>
                <c:pt idx="345">
                  <c:v>12639</c:v>
                </c:pt>
                <c:pt idx="346">
                  <c:v>12528</c:v>
                </c:pt>
                <c:pt idx="347">
                  <c:v>12963</c:v>
                </c:pt>
                <c:pt idx="348">
                  <c:v>10571</c:v>
                </c:pt>
                <c:pt idx="349">
                  <c:v>12044</c:v>
                </c:pt>
                <c:pt idx="350">
                  <c:v>9896</c:v>
                </c:pt>
                <c:pt idx="351">
                  <c:v>9879</c:v>
                </c:pt>
                <c:pt idx="352">
                  <c:v>8393</c:v>
                </c:pt>
                <c:pt idx="353">
                  <c:v>9029</c:v>
                </c:pt>
                <c:pt idx="354">
                  <c:v>8437</c:v>
                </c:pt>
                <c:pt idx="355">
                  <c:v>11914</c:v>
                </c:pt>
                <c:pt idx="356">
                  <c:v>9722</c:v>
                </c:pt>
                <c:pt idx="357">
                  <c:v>7801</c:v>
                </c:pt>
                <c:pt idx="358">
                  <c:v>9232</c:v>
                </c:pt>
                <c:pt idx="359">
                  <c:v>9594</c:v>
                </c:pt>
                <c:pt idx="360">
                  <c:v>11782</c:v>
                </c:pt>
                <c:pt idx="361">
                  <c:v>10005</c:v>
                </c:pt>
                <c:pt idx="362">
                  <c:v>13472</c:v>
                </c:pt>
                <c:pt idx="363">
                  <c:v>10546</c:v>
                </c:pt>
                <c:pt idx="364">
                  <c:v>115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D9-4370-9F49-B20FAD26BE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17286824"/>
        <c:axId val="8172946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Revenue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E$2:$E$366</c:f>
              <c:numCache>
                <c:formatCode>General</c:formatCode>
                <c:ptCount val="365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001-464D-9894-9DA9E76B0E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dateAx>
        <c:axId val="-955199408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 val="autoZero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Revenue (in USD)</a:t>
                </a:r>
                <a:endParaRPr lang="en-IN" b="1"/>
              </a:p>
            </c:rich>
          </c:tx>
          <c:layout>
            <c:manualLayout>
              <c:xMode val="edge"/>
              <c:yMode val="edge"/>
              <c:x val="1.7067833942136307E-2"/>
              <c:y val="0.214663826403764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817294696"/>
        <c:scaling>
          <c:orientation val="minMax"/>
          <c:max val="1000000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7286824"/>
        <c:crosses val="max"/>
        <c:crossBetween val="between"/>
        <c:dispUnits>
          <c:builtInUnit val="thousands"/>
          <c:dispUnitsLbl>
            <c:layout>
              <c:manualLayout>
                <c:xMode val="edge"/>
                <c:yMode val="edge"/>
                <c:x val="0.97377808134685484"/>
                <c:y val="0.23923798038157076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IN" sz="1000" b="1" i="0" baseline="0" dirty="0">
                      <a:effectLst/>
                    </a:rPr>
                    <a:t>Impressions (000’)</a:t>
                  </a:r>
                  <a:endParaRPr lang="en-IN" sz="400" dirty="0">
                    <a:effectLst/>
                  </a:endParaRP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dateAx>
        <c:axId val="817286824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817294696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073933479894846"/>
          <c:y val="0.89640992560702837"/>
          <c:w val="0.4318688018335603"/>
          <c:h val="6.44093085870944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sz="1400" b="1" i="0" kern="1200" spc="0" baseline="0" dirty="0">
                <a:solidFill>
                  <a:srgbClr val="000000"/>
                </a:solidFill>
                <a:effectLst/>
              </a:rPr>
              <a:t>Facebook Impressions</a:t>
            </a:r>
            <a:endParaRPr lang="en-IN" sz="14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647250685203459E-2"/>
          <c:y val="0.1110100897260959"/>
          <c:w val="0.85009385801103066"/>
          <c:h val="0.58994024767250741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Facebook - AOS</c:v>
                </c:pt>
              </c:strCache>
            </c:strRef>
          </c:tx>
          <c:spPr>
            <a:solidFill>
              <a:schemeClr val="accent2"/>
            </a:solidFill>
            <a:ln w="19050">
              <a:solidFill>
                <a:schemeClr val="accent2"/>
              </a:solidFill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#,##0</c:formatCode>
                <c:ptCount val="365"/>
                <c:pt idx="0">
                  <c:v>14474</c:v>
                </c:pt>
                <c:pt idx="1">
                  <c:v>12888</c:v>
                </c:pt>
                <c:pt idx="2">
                  <c:v>11174</c:v>
                </c:pt>
                <c:pt idx="3">
                  <c:v>11180</c:v>
                </c:pt>
                <c:pt idx="4">
                  <c:v>8776</c:v>
                </c:pt>
                <c:pt idx="5">
                  <c:v>8484</c:v>
                </c:pt>
                <c:pt idx="6">
                  <c:v>6038</c:v>
                </c:pt>
                <c:pt idx="7">
                  <c:v>7648</c:v>
                </c:pt>
                <c:pt idx="8">
                  <c:v>9766</c:v>
                </c:pt>
                <c:pt idx="9">
                  <c:v>7814</c:v>
                </c:pt>
                <c:pt idx="10">
                  <c:v>9904</c:v>
                </c:pt>
                <c:pt idx="11">
                  <c:v>9512</c:v>
                </c:pt>
                <c:pt idx="12">
                  <c:v>4250</c:v>
                </c:pt>
                <c:pt idx="13">
                  <c:v>3362</c:v>
                </c:pt>
                <c:pt idx="14">
                  <c:v>6458</c:v>
                </c:pt>
                <c:pt idx="15">
                  <c:v>6608</c:v>
                </c:pt>
                <c:pt idx="16">
                  <c:v>5146</c:v>
                </c:pt>
                <c:pt idx="17">
                  <c:v>4568</c:v>
                </c:pt>
                <c:pt idx="18">
                  <c:v>4784</c:v>
                </c:pt>
                <c:pt idx="19">
                  <c:v>4688</c:v>
                </c:pt>
                <c:pt idx="20">
                  <c:v>6854</c:v>
                </c:pt>
                <c:pt idx="21">
                  <c:v>7948</c:v>
                </c:pt>
                <c:pt idx="22">
                  <c:v>8718</c:v>
                </c:pt>
                <c:pt idx="23">
                  <c:v>8454</c:v>
                </c:pt>
                <c:pt idx="24">
                  <c:v>9182</c:v>
                </c:pt>
                <c:pt idx="25">
                  <c:v>9686</c:v>
                </c:pt>
                <c:pt idx="26">
                  <c:v>10130</c:v>
                </c:pt>
                <c:pt idx="27">
                  <c:v>7346</c:v>
                </c:pt>
                <c:pt idx="28">
                  <c:v>11740</c:v>
                </c:pt>
                <c:pt idx="29">
                  <c:v>14406</c:v>
                </c:pt>
                <c:pt idx="30">
                  <c:v>10658</c:v>
                </c:pt>
                <c:pt idx="31">
                  <c:v>10878</c:v>
                </c:pt>
                <c:pt idx="32">
                  <c:v>10596</c:v>
                </c:pt>
                <c:pt idx="33">
                  <c:v>10592</c:v>
                </c:pt>
                <c:pt idx="34">
                  <c:v>11168</c:v>
                </c:pt>
                <c:pt idx="35">
                  <c:v>12646</c:v>
                </c:pt>
                <c:pt idx="36">
                  <c:v>13958</c:v>
                </c:pt>
                <c:pt idx="37">
                  <c:v>10804</c:v>
                </c:pt>
                <c:pt idx="38">
                  <c:v>13674</c:v>
                </c:pt>
                <c:pt idx="39">
                  <c:v>14590</c:v>
                </c:pt>
                <c:pt idx="40">
                  <c:v>15580</c:v>
                </c:pt>
                <c:pt idx="41">
                  <c:v>8824</c:v>
                </c:pt>
                <c:pt idx="42">
                  <c:v>12076</c:v>
                </c:pt>
                <c:pt idx="43">
                  <c:v>8134</c:v>
                </c:pt>
                <c:pt idx="44">
                  <c:v>5814</c:v>
                </c:pt>
                <c:pt idx="45">
                  <c:v>7788</c:v>
                </c:pt>
                <c:pt idx="46">
                  <c:v>6384</c:v>
                </c:pt>
                <c:pt idx="47">
                  <c:v>7348</c:v>
                </c:pt>
                <c:pt idx="48">
                  <c:v>7646</c:v>
                </c:pt>
                <c:pt idx="49">
                  <c:v>9396</c:v>
                </c:pt>
                <c:pt idx="50">
                  <c:v>12916</c:v>
                </c:pt>
                <c:pt idx="51">
                  <c:v>11490</c:v>
                </c:pt>
                <c:pt idx="52">
                  <c:v>10042</c:v>
                </c:pt>
                <c:pt idx="53">
                  <c:v>9062</c:v>
                </c:pt>
                <c:pt idx="54">
                  <c:v>11450</c:v>
                </c:pt>
                <c:pt idx="55">
                  <c:v>13808</c:v>
                </c:pt>
                <c:pt idx="56">
                  <c:v>11786</c:v>
                </c:pt>
                <c:pt idx="57">
                  <c:v>10314</c:v>
                </c:pt>
                <c:pt idx="58">
                  <c:v>10206</c:v>
                </c:pt>
                <c:pt idx="59">
                  <c:v>13370</c:v>
                </c:pt>
                <c:pt idx="60">
                  <c:v>13250</c:v>
                </c:pt>
                <c:pt idx="61">
                  <c:v>7339</c:v>
                </c:pt>
                <c:pt idx="62">
                  <c:v>8967</c:v>
                </c:pt>
                <c:pt idx="63">
                  <c:v>8215</c:v>
                </c:pt>
                <c:pt idx="64">
                  <c:v>8928</c:v>
                </c:pt>
                <c:pt idx="65">
                  <c:v>5807</c:v>
                </c:pt>
                <c:pt idx="66">
                  <c:v>8499</c:v>
                </c:pt>
                <c:pt idx="67">
                  <c:v>7851</c:v>
                </c:pt>
                <c:pt idx="68">
                  <c:v>7537</c:v>
                </c:pt>
                <c:pt idx="69">
                  <c:v>6772</c:v>
                </c:pt>
                <c:pt idx="70">
                  <c:v>8093</c:v>
                </c:pt>
                <c:pt idx="71">
                  <c:v>9980</c:v>
                </c:pt>
                <c:pt idx="72">
                  <c:v>14998</c:v>
                </c:pt>
                <c:pt idx="73">
                  <c:v>14398</c:v>
                </c:pt>
                <c:pt idx="74">
                  <c:v>11291</c:v>
                </c:pt>
                <c:pt idx="75">
                  <c:v>11367</c:v>
                </c:pt>
                <c:pt idx="76">
                  <c:v>12407</c:v>
                </c:pt>
                <c:pt idx="77">
                  <c:v>9550</c:v>
                </c:pt>
                <c:pt idx="78">
                  <c:v>10034</c:v>
                </c:pt>
                <c:pt idx="79">
                  <c:v>11232</c:v>
                </c:pt>
                <c:pt idx="80">
                  <c:v>11923</c:v>
                </c:pt>
                <c:pt idx="81">
                  <c:v>11534</c:v>
                </c:pt>
                <c:pt idx="82">
                  <c:v>9142</c:v>
                </c:pt>
                <c:pt idx="83">
                  <c:v>7921</c:v>
                </c:pt>
                <c:pt idx="84">
                  <c:v>7461</c:v>
                </c:pt>
                <c:pt idx="85">
                  <c:v>8344</c:v>
                </c:pt>
                <c:pt idx="86">
                  <c:v>7169</c:v>
                </c:pt>
                <c:pt idx="87">
                  <c:v>7344</c:v>
                </c:pt>
                <c:pt idx="88">
                  <c:v>7218</c:v>
                </c:pt>
                <c:pt idx="89">
                  <c:v>7080</c:v>
                </c:pt>
                <c:pt idx="90">
                  <c:v>5218</c:v>
                </c:pt>
                <c:pt idx="91">
                  <c:v>4545</c:v>
                </c:pt>
                <c:pt idx="92">
                  <c:v>4397</c:v>
                </c:pt>
                <c:pt idx="93">
                  <c:v>4678</c:v>
                </c:pt>
                <c:pt idx="94">
                  <c:v>5943</c:v>
                </c:pt>
                <c:pt idx="95">
                  <c:v>6514</c:v>
                </c:pt>
                <c:pt idx="96">
                  <c:v>7360</c:v>
                </c:pt>
                <c:pt idx="97">
                  <c:v>8793</c:v>
                </c:pt>
                <c:pt idx="98">
                  <c:v>8066</c:v>
                </c:pt>
                <c:pt idx="99">
                  <c:v>9604</c:v>
                </c:pt>
                <c:pt idx="100">
                  <c:v>8490</c:v>
                </c:pt>
                <c:pt idx="101">
                  <c:v>8480</c:v>
                </c:pt>
                <c:pt idx="102">
                  <c:v>8734</c:v>
                </c:pt>
                <c:pt idx="103">
                  <c:v>9499</c:v>
                </c:pt>
                <c:pt idx="104">
                  <c:v>9424</c:v>
                </c:pt>
                <c:pt idx="105">
                  <c:v>8526</c:v>
                </c:pt>
                <c:pt idx="106">
                  <c:v>8757</c:v>
                </c:pt>
                <c:pt idx="107">
                  <c:v>8474</c:v>
                </c:pt>
                <c:pt idx="108">
                  <c:v>8647</c:v>
                </c:pt>
                <c:pt idx="109">
                  <c:v>11567</c:v>
                </c:pt>
                <c:pt idx="110">
                  <c:v>10243</c:v>
                </c:pt>
                <c:pt idx="111">
                  <c:v>9824</c:v>
                </c:pt>
                <c:pt idx="112">
                  <c:v>9376</c:v>
                </c:pt>
                <c:pt idx="113">
                  <c:v>10041</c:v>
                </c:pt>
                <c:pt idx="114">
                  <c:v>7268</c:v>
                </c:pt>
                <c:pt idx="115">
                  <c:v>9034</c:v>
                </c:pt>
                <c:pt idx="116">
                  <c:v>6737</c:v>
                </c:pt>
                <c:pt idx="117">
                  <c:v>6500</c:v>
                </c:pt>
                <c:pt idx="118">
                  <c:v>7588</c:v>
                </c:pt>
                <c:pt idx="119">
                  <c:v>8183</c:v>
                </c:pt>
                <c:pt idx="120">
                  <c:v>7143</c:v>
                </c:pt>
                <c:pt idx="121">
                  <c:v>7261</c:v>
                </c:pt>
                <c:pt idx="122">
                  <c:v>11117</c:v>
                </c:pt>
                <c:pt idx="123">
                  <c:v>9958</c:v>
                </c:pt>
                <c:pt idx="124">
                  <c:v>9205</c:v>
                </c:pt>
                <c:pt idx="125">
                  <c:v>9126</c:v>
                </c:pt>
                <c:pt idx="126">
                  <c:v>9660</c:v>
                </c:pt>
                <c:pt idx="127">
                  <c:v>9894</c:v>
                </c:pt>
                <c:pt idx="128">
                  <c:v>9951</c:v>
                </c:pt>
                <c:pt idx="129">
                  <c:v>8533</c:v>
                </c:pt>
                <c:pt idx="130">
                  <c:v>7109</c:v>
                </c:pt>
                <c:pt idx="131">
                  <c:v>7112</c:v>
                </c:pt>
                <c:pt idx="132">
                  <c:v>7515</c:v>
                </c:pt>
                <c:pt idx="133">
                  <c:v>7002</c:v>
                </c:pt>
                <c:pt idx="134">
                  <c:v>9088</c:v>
                </c:pt>
                <c:pt idx="135">
                  <c:v>8075</c:v>
                </c:pt>
                <c:pt idx="136">
                  <c:v>8080</c:v>
                </c:pt>
                <c:pt idx="137">
                  <c:v>9454</c:v>
                </c:pt>
                <c:pt idx="138">
                  <c:v>10361</c:v>
                </c:pt>
                <c:pt idx="139">
                  <c:v>12048</c:v>
                </c:pt>
                <c:pt idx="140">
                  <c:v>14820</c:v>
                </c:pt>
                <c:pt idx="141">
                  <c:v>18074</c:v>
                </c:pt>
                <c:pt idx="142">
                  <c:v>11764</c:v>
                </c:pt>
                <c:pt idx="143">
                  <c:v>13082</c:v>
                </c:pt>
                <c:pt idx="144">
                  <c:v>12612</c:v>
                </c:pt>
                <c:pt idx="145">
                  <c:v>17680</c:v>
                </c:pt>
                <c:pt idx="146">
                  <c:v>13592</c:v>
                </c:pt>
                <c:pt idx="147">
                  <c:v>13198</c:v>
                </c:pt>
                <c:pt idx="148">
                  <c:v>10827</c:v>
                </c:pt>
                <c:pt idx="149">
                  <c:v>11794</c:v>
                </c:pt>
                <c:pt idx="150">
                  <c:v>9836</c:v>
                </c:pt>
                <c:pt idx="151">
                  <c:v>9597</c:v>
                </c:pt>
                <c:pt idx="152">
                  <c:v>7409</c:v>
                </c:pt>
                <c:pt idx="153">
                  <c:v>6736</c:v>
                </c:pt>
                <c:pt idx="154">
                  <c:v>8906</c:v>
                </c:pt>
                <c:pt idx="155">
                  <c:v>7492</c:v>
                </c:pt>
                <c:pt idx="156">
                  <c:v>7260</c:v>
                </c:pt>
                <c:pt idx="157">
                  <c:v>9201</c:v>
                </c:pt>
                <c:pt idx="158">
                  <c:v>9786</c:v>
                </c:pt>
                <c:pt idx="159">
                  <c:v>9903</c:v>
                </c:pt>
                <c:pt idx="160">
                  <c:v>10726</c:v>
                </c:pt>
                <c:pt idx="161">
                  <c:v>9973</c:v>
                </c:pt>
                <c:pt idx="162">
                  <c:v>9856</c:v>
                </c:pt>
                <c:pt idx="163">
                  <c:v>9879</c:v>
                </c:pt>
                <c:pt idx="164">
                  <c:v>12281</c:v>
                </c:pt>
                <c:pt idx="165">
                  <c:v>11304</c:v>
                </c:pt>
                <c:pt idx="166">
                  <c:v>9380</c:v>
                </c:pt>
                <c:pt idx="167">
                  <c:v>8758</c:v>
                </c:pt>
                <c:pt idx="168">
                  <c:v>8216</c:v>
                </c:pt>
                <c:pt idx="169">
                  <c:v>7817</c:v>
                </c:pt>
                <c:pt idx="170">
                  <c:v>6151</c:v>
                </c:pt>
                <c:pt idx="171">
                  <c:v>8505</c:v>
                </c:pt>
                <c:pt idx="172">
                  <c:v>11646</c:v>
                </c:pt>
                <c:pt idx="173">
                  <c:v>11665</c:v>
                </c:pt>
                <c:pt idx="174">
                  <c:v>10122</c:v>
                </c:pt>
                <c:pt idx="175">
                  <c:v>11081</c:v>
                </c:pt>
                <c:pt idx="176">
                  <c:v>12804</c:v>
                </c:pt>
                <c:pt idx="177">
                  <c:v>9847</c:v>
                </c:pt>
                <c:pt idx="178">
                  <c:v>16898</c:v>
                </c:pt>
                <c:pt idx="179">
                  <c:v>38546</c:v>
                </c:pt>
                <c:pt idx="180">
                  <c:v>33737</c:v>
                </c:pt>
                <c:pt idx="181">
                  <c:v>29866</c:v>
                </c:pt>
                <c:pt idx="182">
                  <c:v>28743</c:v>
                </c:pt>
                <c:pt idx="183">
                  <c:v>31150</c:v>
                </c:pt>
                <c:pt idx="184">
                  <c:v>25364</c:v>
                </c:pt>
                <c:pt idx="185">
                  <c:v>25705</c:v>
                </c:pt>
                <c:pt idx="186">
                  <c:v>27137</c:v>
                </c:pt>
                <c:pt idx="187">
                  <c:v>30381</c:v>
                </c:pt>
                <c:pt idx="188">
                  <c:v>39500</c:v>
                </c:pt>
                <c:pt idx="189">
                  <c:v>41678</c:v>
                </c:pt>
                <c:pt idx="190">
                  <c:v>49375</c:v>
                </c:pt>
                <c:pt idx="191">
                  <c:v>41312</c:v>
                </c:pt>
                <c:pt idx="192">
                  <c:v>37678</c:v>
                </c:pt>
                <c:pt idx="193">
                  <c:v>42245</c:v>
                </c:pt>
                <c:pt idx="194">
                  <c:v>43474</c:v>
                </c:pt>
                <c:pt idx="195">
                  <c:v>45570</c:v>
                </c:pt>
                <c:pt idx="196">
                  <c:v>60853</c:v>
                </c:pt>
                <c:pt idx="197">
                  <c:v>63993</c:v>
                </c:pt>
                <c:pt idx="198">
                  <c:v>54881</c:v>
                </c:pt>
                <c:pt idx="199">
                  <c:v>65851</c:v>
                </c:pt>
                <c:pt idx="200">
                  <c:v>63264</c:v>
                </c:pt>
                <c:pt idx="201">
                  <c:v>55050</c:v>
                </c:pt>
                <c:pt idx="202">
                  <c:v>53333</c:v>
                </c:pt>
                <c:pt idx="203">
                  <c:v>60397</c:v>
                </c:pt>
                <c:pt idx="204">
                  <c:v>50531</c:v>
                </c:pt>
                <c:pt idx="205">
                  <c:v>44346</c:v>
                </c:pt>
                <c:pt idx="206">
                  <c:v>49397</c:v>
                </c:pt>
                <c:pt idx="207">
                  <c:v>51142</c:v>
                </c:pt>
                <c:pt idx="208">
                  <c:v>54132</c:v>
                </c:pt>
                <c:pt idx="209">
                  <c:v>48282</c:v>
                </c:pt>
                <c:pt idx="210">
                  <c:v>54670</c:v>
                </c:pt>
                <c:pt idx="211">
                  <c:v>53827</c:v>
                </c:pt>
                <c:pt idx="212">
                  <c:v>53300</c:v>
                </c:pt>
                <c:pt idx="213">
                  <c:v>62589</c:v>
                </c:pt>
                <c:pt idx="214">
                  <c:v>53610</c:v>
                </c:pt>
                <c:pt idx="215">
                  <c:v>60221</c:v>
                </c:pt>
                <c:pt idx="216">
                  <c:v>53905</c:v>
                </c:pt>
                <c:pt idx="217">
                  <c:v>70988</c:v>
                </c:pt>
                <c:pt idx="218">
                  <c:v>67446</c:v>
                </c:pt>
                <c:pt idx="219">
                  <c:v>67477</c:v>
                </c:pt>
                <c:pt idx="220">
                  <c:v>58309</c:v>
                </c:pt>
                <c:pt idx="221">
                  <c:v>63355</c:v>
                </c:pt>
                <c:pt idx="222">
                  <c:v>68901</c:v>
                </c:pt>
                <c:pt idx="223">
                  <c:v>62183</c:v>
                </c:pt>
                <c:pt idx="224">
                  <c:v>60323</c:v>
                </c:pt>
                <c:pt idx="225">
                  <c:v>56630</c:v>
                </c:pt>
                <c:pt idx="226">
                  <c:v>50855</c:v>
                </c:pt>
                <c:pt idx="227">
                  <c:v>49145</c:v>
                </c:pt>
                <c:pt idx="228">
                  <c:v>53770</c:v>
                </c:pt>
                <c:pt idx="229">
                  <c:v>55934</c:v>
                </c:pt>
                <c:pt idx="230">
                  <c:v>44574</c:v>
                </c:pt>
                <c:pt idx="231">
                  <c:v>47771</c:v>
                </c:pt>
                <c:pt idx="232">
                  <c:v>50336</c:v>
                </c:pt>
                <c:pt idx="233">
                  <c:v>50616</c:v>
                </c:pt>
                <c:pt idx="234">
                  <c:v>62065</c:v>
                </c:pt>
                <c:pt idx="235">
                  <c:v>63939</c:v>
                </c:pt>
                <c:pt idx="236">
                  <c:v>61719</c:v>
                </c:pt>
                <c:pt idx="237">
                  <c:v>60482</c:v>
                </c:pt>
                <c:pt idx="238">
                  <c:v>56683</c:v>
                </c:pt>
                <c:pt idx="239">
                  <c:v>68135</c:v>
                </c:pt>
                <c:pt idx="240">
                  <c:v>60956</c:v>
                </c:pt>
                <c:pt idx="241">
                  <c:v>69455</c:v>
                </c:pt>
                <c:pt idx="242">
                  <c:v>130518</c:v>
                </c:pt>
                <c:pt idx="243">
                  <c:v>82493</c:v>
                </c:pt>
                <c:pt idx="244">
                  <c:v>93558</c:v>
                </c:pt>
                <c:pt idx="245">
                  <c:v>101639</c:v>
                </c:pt>
                <c:pt idx="246">
                  <c:v>115526</c:v>
                </c:pt>
                <c:pt idx="247">
                  <c:v>101294</c:v>
                </c:pt>
                <c:pt idx="248">
                  <c:v>127043</c:v>
                </c:pt>
                <c:pt idx="249">
                  <c:v>122297</c:v>
                </c:pt>
                <c:pt idx="250">
                  <c:v>128343</c:v>
                </c:pt>
                <c:pt idx="251">
                  <c:v>87956</c:v>
                </c:pt>
                <c:pt idx="252">
                  <c:v>84516</c:v>
                </c:pt>
                <c:pt idx="253">
                  <c:v>84048</c:v>
                </c:pt>
                <c:pt idx="254">
                  <c:v>89495</c:v>
                </c:pt>
                <c:pt idx="255">
                  <c:v>100838</c:v>
                </c:pt>
                <c:pt idx="256">
                  <c:v>104873</c:v>
                </c:pt>
                <c:pt idx="257">
                  <c:v>89618</c:v>
                </c:pt>
                <c:pt idx="258">
                  <c:v>86190</c:v>
                </c:pt>
                <c:pt idx="259">
                  <c:v>86041</c:v>
                </c:pt>
                <c:pt idx="260">
                  <c:v>94175</c:v>
                </c:pt>
                <c:pt idx="261">
                  <c:v>104880</c:v>
                </c:pt>
                <c:pt idx="262">
                  <c:v>113917</c:v>
                </c:pt>
                <c:pt idx="263">
                  <c:v>100410</c:v>
                </c:pt>
                <c:pt idx="264">
                  <c:v>100591</c:v>
                </c:pt>
                <c:pt idx="265">
                  <c:v>98524</c:v>
                </c:pt>
                <c:pt idx="266">
                  <c:v>100033</c:v>
                </c:pt>
                <c:pt idx="267">
                  <c:v>104971</c:v>
                </c:pt>
                <c:pt idx="268">
                  <c:v>96669</c:v>
                </c:pt>
                <c:pt idx="269">
                  <c:v>95034</c:v>
                </c:pt>
                <c:pt idx="270">
                  <c:v>84362</c:v>
                </c:pt>
                <c:pt idx="271">
                  <c:v>66759</c:v>
                </c:pt>
                <c:pt idx="272">
                  <c:v>78334</c:v>
                </c:pt>
                <c:pt idx="273">
                  <c:v>84973</c:v>
                </c:pt>
                <c:pt idx="274">
                  <c:v>86202</c:v>
                </c:pt>
                <c:pt idx="275">
                  <c:v>89526</c:v>
                </c:pt>
                <c:pt idx="276">
                  <c:v>89224</c:v>
                </c:pt>
                <c:pt idx="277">
                  <c:v>77288</c:v>
                </c:pt>
                <c:pt idx="278">
                  <c:v>70588</c:v>
                </c:pt>
                <c:pt idx="279">
                  <c:v>62957</c:v>
                </c:pt>
                <c:pt idx="280">
                  <c:v>78220</c:v>
                </c:pt>
                <c:pt idx="281">
                  <c:v>84373</c:v>
                </c:pt>
                <c:pt idx="282">
                  <c:v>75387</c:v>
                </c:pt>
                <c:pt idx="283">
                  <c:v>81177</c:v>
                </c:pt>
                <c:pt idx="284">
                  <c:v>77055</c:v>
                </c:pt>
                <c:pt idx="285">
                  <c:v>81318</c:v>
                </c:pt>
                <c:pt idx="286">
                  <c:v>82123</c:v>
                </c:pt>
                <c:pt idx="287">
                  <c:v>74557</c:v>
                </c:pt>
                <c:pt idx="288">
                  <c:v>68090</c:v>
                </c:pt>
                <c:pt idx="289">
                  <c:v>70225</c:v>
                </c:pt>
                <c:pt idx="290">
                  <c:v>84823</c:v>
                </c:pt>
                <c:pt idx="291">
                  <c:v>83509</c:v>
                </c:pt>
                <c:pt idx="292">
                  <c:v>93918</c:v>
                </c:pt>
                <c:pt idx="293">
                  <c:v>99716</c:v>
                </c:pt>
                <c:pt idx="294">
                  <c:v>96201</c:v>
                </c:pt>
                <c:pt idx="295">
                  <c:v>95568</c:v>
                </c:pt>
                <c:pt idx="296">
                  <c:v>89605</c:v>
                </c:pt>
                <c:pt idx="297">
                  <c:v>83937</c:v>
                </c:pt>
                <c:pt idx="298">
                  <c:v>82701</c:v>
                </c:pt>
                <c:pt idx="299">
                  <c:v>86899</c:v>
                </c:pt>
                <c:pt idx="300">
                  <c:v>99277</c:v>
                </c:pt>
                <c:pt idx="301">
                  <c:v>123664</c:v>
                </c:pt>
                <c:pt idx="302">
                  <c:v>106597</c:v>
                </c:pt>
                <c:pt idx="303">
                  <c:v>106394</c:v>
                </c:pt>
                <c:pt idx="304">
                  <c:v>110137</c:v>
                </c:pt>
                <c:pt idx="305">
                  <c:v>110510</c:v>
                </c:pt>
                <c:pt idx="306">
                  <c:v>111402</c:v>
                </c:pt>
                <c:pt idx="307">
                  <c:v>110897</c:v>
                </c:pt>
                <c:pt idx="308">
                  <c:v>94514</c:v>
                </c:pt>
                <c:pt idx="309">
                  <c:v>85270</c:v>
                </c:pt>
                <c:pt idx="310">
                  <c:v>76371</c:v>
                </c:pt>
                <c:pt idx="311">
                  <c:v>77522</c:v>
                </c:pt>
                <c:pt idx="312">
                  <c:v>79488</c:v>
                </c:pt>
                <c:pt idx="313">
                  <c:v>84100</c:v>
                </c:pt>
                <c:pt idx="314">
                  <c:v>77404</c:v>
                </c:pt>
                <c:pt idx="315">
                  <c:v>61771</c:v>
                </c:pt>
                <c:pt idx="316">
                  <c:v>66990</c:v>
                </c:pt>
                <c:pt idx="317">
                  <c:v>66070</c:v>
                </c:pt>
                <c:pt idx="318">
                  <c:v>76073</c:v>
                </c:pt>
                <c:pt idx="319">
                  <c:v>84844</c:v>
                </c:pt>
                <c:pt idx="320">
                  <c:v>80348</c:v>
                </c:pt>
                <c:pt idx="321">
                  <c:v>77125</c:v>
                </c:pt>
                <c:pt idx="322">
                  <c:v>89333</c:v>
                </c:pt>
                <c:pt idx="323">
                  <c:v>75785</c:v>
                </c:pt>
                <c:pt idx="324">
                  <c:v>63190</c:v>
                </c:pt>
                <c:pt idx="325">
                  <c:v>69138</c:v>
                </c:pt>
                <c:pt idx="326">
                  <c:v>72130</c:v>
                </c:pt>
                <c:pt idx="327">
                  <c:v>69969</c:v>
                </c:pt>
                <c:pt idx="328">
                  <c:v>73503</c:v>
                </c:pt>
                <c:pt idx="329">
                  <c:v>72215</c:v>
                </c:pt>
                <c:pt idx="330">
                  <c:v>68076</c:v>
                </c:pt>
                <c:pt idx="331">
                  <c:v>58542</c:v>
                </c:pt>
                <c:pt idx="332">
                  <c:v>65802</c:v>
                </c:pt>
                <c:pt idx="333">
                  <c:v>69346</c:v>
                </c:pt>
                <c:pt idx="334">
                  <c:v>70323</c:v>
                </c:pt>
                <c:pt idx="335">
                  <c:v>60156</c:v>
                </c:pt>
                <c:pt idx="336">
                  <c:v>69034</c:v>
                </c:pt>
                <c:pt idx="337">
                  <c:v>63826</c:v>
                </c:pt>
                <c:pt idx="338">
                  <c:v>54181</c:v>
                </c:pt>
                <c:pt idx="339">
                  <c:v>65362</c:v>
                </c:pt>
                <c:pt idx="340">
                  <c:v>70794</c:v>
                </c:pt>
                <c:pt idx="341">
                  <c:v>68618</c:v>
                </c:pt>
                <c:pt idx="342">
                  <c:v>67414</c:v>
                </c:pt>
                <c:pt idx="343">
                  <c:v>60367</c:v>
                </c:pt>
                <c:pt idx="344">
                  <c:v>61110</c:v>
                </c:pt>
                <c:pt idx="345">
                  <c:v>60708</c:v>
                </c:pt>
                <c:pt idx="346">
                  <c:v>69510</c:v>
                </c:pt>
                <c:pt idx="347">
                  <c:v>72489</c:v>
                </c:pt>
                <c:pt idx="348">
                  <c:v>61769</c:v>
                </c:pt>
                <c:pt idx="349">
                  <c:v>60296</c:v>
                </c:pt>
                <c:pt idx="350">
                  <c:v>59878</c:v>
                </c:pt>
                <c:pt idx="351">
                  <c:v>55573</c:v>
                </c:pt>
                <c:pt idx="352">
                  <c:v>50325</c:v>
                </c:pt>
                <c:pt idx="353">
                  <c:v>49963</c:v>
                </c:pt>
                <c:pt idx="354">
                  <c:v>46710</c:v>
                </c:pt>
                <c:pt idx="355">
                  <c:v>46188</c:v>
                </c:pt>
                <c:pt idx="356">
                  <c:v>52696</c:v>
                </c:pt>
                <c:pt idx="357">
                  <c:v>61198</c:v>
                </c:pt>
                <c:pt idx="358">
                  <c:v>57151</c:v>
                </c:pt>
                <c:pt idx="359">
                  <c:v>54488</c:v>
                </c:pt>
                <c:pt idx="360">
                  <c:v>57474</c:v>
                </c:pt>
                <c:pt idx="361">
                  <c:v>60777</c:v>
                </c:pt>
                <c:pt idx="362">
                  <c:v>71623</c:v>
                </c:pt>
                <c:pt idx="363">
                  <c:v>53613</c:v>
                </c:pt>
                <c:pt idx="364">
                  <c:v>59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001-464D-9894-9DA9E76B0E8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acebook - IOS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92D050"/>
              </a:solidFill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D$2:$D$366</c:f>
              <c:numCache>
                <c:formatCode>#,##0</c:formatCode>
                <c:ptCount val="365"/>
                <c:pt idx="0">
                  <c:v>21858</c:v>
                </c:pt>
                <c:pt idx="1">
                  <c:v>21888</c:v>
                </c:pt>
                <c:pt idx="2">
                  <c:v>17980</c:v>
                </c:pt>
                <c:pt idx="3">
                  <c:v>21766</c:v>
                </c:pt>
                <c:pt idx="4">
                  <c:v>17432</c:v>
                </c:pt>
                <c:pt idx="5">
                  <c:v>15814</c:v>
                </c:pt>
                <c:pt idx="6">
                  <c:v>14308</c:v>
                </c:pt>
                <c:pt idx="7">
                  <c:v>15848</c:v>
                </c:pt>
                <c:pt idx="8">
                  <c:v>21878</c:v>
                </c:pt>
                <c:pt idx="9">
                  <c:v>14392</c:v>
                </c:pt>
                <c:pt idx="10">
                  <c:v>20018</c:v>
                </c:pt>
                <c:pt idx="11">
                  <c:v>18434</c:v>
                </c:pt>
                <c:pt idx="12">
                  <c:v>12002</c:v>
                </c:pt>
                <c:pt idx="13">
                  <c:v>10222</c:v>
                </c:pt>
                <c:pt idx="14">
                  <c:v>14288</c:v>
                </c:pt>
                <c:pt idx="15">
                  <c:v>15682</c:v>
                </c:pt>
                <c:pt idx="16">
                  <c:v>12672</c:v>
                </c:pt>
                <c:pt idx="17">
                  <c:v>13496</c:v>
                </c:pt>
                <c:pt idx="18">
                  <c:v>13366</c:v>
                </c:pt>
                <c:pt idx="19">
                  <c:v>11728</c:v>
                </c:pt>
                <c:pt idx="20">
                  <c:v>14586</c:v>
                </c:pt>
                <c:pt idx="21">
                  <c:v>20006</c:v>
                </c:pt>
                <c:pt idx="22">
                  <c:v>19568</c:v>
                </c:pt>
                <c:pt idx="23">
                  <c:v>18406</c:v>
                </c:pt>
                <c:pt idx="24">
                  <c:v>16444</c:v>
                </c:pt>
                <c:pt idx="25">
                  <c:v>18600</c:v>
                </c:pt>
                <c:pt idx="26">
                  <c:v>17096</c:v>
                </c:pt>
                <c:pt idx="27">
                  <c:v>13938</c:v>
                </c:pt>
                <c:pt idx="28">
                  <c:v>18994</c:v>
                </c:pt>
                <c:pt idx="29">
                  <c:v>15890</c:v>
                </c:pt>
                <c:pt idx="30">
                  <c:v>12706</c:v>
                </c:pt>
                <c:pt idx="31">
                  <c:v>12994</c:v>
                </c:pt>
                <c:pt idx="32">
                  <c:v>13548</c:v>
                </c:pt>
                <c:pt idx="33">
                  <c:v>12872</c:v>
                </c:pt>
                <c:pt idx="34">
                  <c:v>15106</c:v>
                </c:pt>
                <c:pt idx="35">
                  <c:v>18412</c:v>
                </c:pt>
                <c:pt idx="36">
                  <c:v>15764</c:v>
                </c:pt>
                <c:pt idx="37">
                  <c:v>13434</c:v>
                </c:pt>
                <c:pt idx="38">
                  <c:v>17540</c:v>
                </c:pt>
                <c:pt idx="39">
                  <c:v>17224</c:v>
                </c:pt>
                <c:pt idx="40">
                  <c:v>14274</c:v>
                </c:pt>
                <c:pt idx="41">
                  <c:v>9598</c:v>
                </c:pt>
                <c:pt idx="42">
                  <c:v>16330</c:v>
                </c:pt>
                <c:pt idx="43">
                  <c:v>11338</c:v>
                </c:pt>
                <c:pt idx="44">
                  <c:v>8556</c:v>
                </c:pt>
                <c:pt idx="45">
                  <c:v>11924</c:v>
                </c:pt>
                <c:pt idx="46">
                  <c:v>10204</c:v>
                </c:pt>
                <c:pt idx="47">
                  <c:v>12848</c:v>
                </c:pt>
                <c:pt idx="48">
                  <c:v>12066</c:v>
                </c:pt>
                <c:pt idx="49">
                  <c:v>17176</c:v>
                </c:pt>
                <c:pt idx="50">
                  <c:v>20896</c:v>
                </c:pt>
                <c:pt idx="51">
                  <c:v>18670</c:v>
                </c:pt>
                <c:pt idx="52">
                  <c:v>17644</c:v>
                </c:pt>
                <c:pt idx="53">
                  <c:v>16838</c:v>
                </c:pt>
                <c:pt idx="54">
                  <c:v>19040</c:v>
                </c:pt>
                <c:pt idx="55">
                  <c:v>21330</c:v>
                </c:pt>
                <c:pt idx="56">
                  <c:v>19702</c:v>
                </c:pt>
                <c:pt idx="57">
                  <c:v>20688</c:v>
                </c:pt>
                <c:pt idx="58">
                  <c:v>18720</c:v>
                </c:pt>
                <c:pt idx="59">
                  <c:v>23270</c:v>
                </c:pt>
                <c:pt idx="60">
                  <c:v>24594</c:v>
                </c:pt>
                <c:pt idx="61">
                  <c:v>14609</c:v>
                </c:pt>
                <c:pt idx="62">
                  <c:v>18186</c:v>
                </c:pt>
                <c:pt idx="63">
                  <c:v>14456</c:v>
                </c:pt>
                <c:pt idx="64">
                  <c:v>14949</c:v>
                </c:pt>
                <c:pt idx="65">
                  <c:v>11721</c:v>
                </c:pt>
                <c:pt idx="66">
                  <c:v>12436</c:v>
                </c:pt>
                <c:pt idx="67">
                  <c:v>12319</c:v>
                </c:pt>
                <c:pt idx="68">
                  <c:v>10533</c:v>
                </c:pt>
                <c:pt idx="69">
                  <c:v>9893</c:v>
                </c:pt>
                <c:pt idx="70">
                  <c:v>11692</c:v>
                </c:pt>
                <c:pt idx="71">
                  <c:v>9519</c:v>
                </c:pt>
                <c:pt idx="72">
                  <c:v>8486</c:v>
                </c:pt>
                <c:pt idx="73">
                  <c:v>8134</c:v>
                </c:pt>
                <c:pt idx="74">
                  <c:v>8154</c:v>
                </c:pt>
                <c:pt idx="75">
                  <c:v>8380</c:v>
                </c:pt>
                <c:pt idx="76">
                  <c:v>9739</c:v>
                </c:pt>
                <c:pt idx="77">
                  <c:v>8548</c:v>
                </c:pt>
                <c:pt idx="78">
                  <c:v>9215</c:v>
                </c:pt>
                <c:pt idx="79">
                  <c:v>8374</c:v>
                </c:pt>
                <c:pt idx="80">
                  <c:v>7646</c:v>
                </c:pt>
                <c:pt idx="81">
                  <c:v>9254</c:v>
                </c:pt>
                <c:pt idx="82">
                  <c:v>8630</c:v>
                </c:pt>
                <c:pt idx="83">
                  <c:v>8588</c:v>
                </c:pt>
                <c:pt idx="84">
                  <c:v>7736</c:v>
                </c:pt>
                <c:pt idx="85">
                  <c:v>7408</c:v>
                </c:pt>
                <c:pt idx="86">
                  <c:v>6338</c:v>
                </c:pt>
                <c:pt idx="87">
                  <c:v>5558</c:v>
                </c:pt>
                <c:pt idx="88">
                  <c:v>6200</c:v>
                </c:pt>
                <c:pt idx="89">
                  <c:v>5692</c:v>
                </c:pt>
                <c:pt idx="90">
                  <c:v>3923</c:v>
                </c:pt>
                <c:pt idx="91">
                  <c:v>3879</c:v>
                </c:pt>
                <c:pt idx="92">
                  <c:v>3757</c:v>
                </c:pt>
                <c:pt idx="93">
                  <c:v>4364</c:v>
                </c:pt>
                <c:pt idx="94">
                  <c:v>5482</c:v>
                </c:pt>
                <c:pt idx="95">
                  <c:v>6756</c:v>
                </c:pt>
                <c:pt idx="96">
                  <c:v>7972</c:v>
                </c:pt>
                <c:pt idx="97">
                  <c:v>9265</c:v>
                </c:pt>
                <c:pt idx="98">
                  <c:v>9080</c:v>
                </c:pt>
                <c:pt idx="99">
                  <c:v>8512</c:v>
                </c:pt>
                <c:pt idx="100">
                  <c:v>7220</c:v>
                </c:pt>
                <c:pt idx="101">
                  <c:v>7009</c:v>
                </c:pt>
                <c:pt idx="102">
                  <c:v>7922</c:v>
                </c:pt>
                <c:pt idx="103">
                  <c:v>8266</c:v>
                </c:pt>
                <c:pt idx="104">
                  <c:v>7471</c:v>
                </c:pt>
                <c:pt idx="105">
                  <c:v>7775</c:v>
                </c:pt>
                <c:pt idx="106">
                  <c:v>7010</c:v>
                </c:pt>
                <c:pt idx="107">
                  <c:v>5675</c:v>
                </c:pt>
                <c:pt idx="108">
                  <c:v>5880</c:v>
                </c:pt>
                <c:pt idx="109">
                  <c:v>7227</c:v>
                </c:pt>
                <c:pt idx="110">
                  <c:v>9325</c:v>
                </c:pt>
                <c:pt idx="111">
                  <c:v>8418</c:v>
                </c:pt>
                <c:pt idx="112">
                  <c:v>8300</c:v>
                </c:pt>
                <c:pt idx="113">
                  <c:v>8802</c:v>
                </c:pt>
                <c:pt idx="114">
                  <c:v>6719</c:v>
                </c:pt>
                <c:pt idx="115">
                  <c:v>7514</c:v>
                </c:pt>
                <c:pt idx="116">
                  <c:v>6114</c:v>
                </c:pt>
                <c:pt idx="117">
                  <c:v>5551</c:v>
                </c:pt>
                <c:pt idx="118">
                  <c:v>5398</c:v>
                </c:pt>
                <c:pt idx="119">
                  <c:v>6101</c:v>
                </c:pt>
                <c:pt idx="120">
                  <c:v>5326</c:v>
                </c:pt>
                <c:pt idx="121">
                  <c:v>5697</c:v>
                </c:pt>
                <c:pt idx="122">
                  <c:v>8988</c:v>
                </c:pt>
                <c:pt idx="123">
                  <c:v>7213</c:v>
                </c:pt>
                <c:pt idx="124">
                  <c:v>7925</c:v>
                </c:pt>
                <c:pt idx="125">
                  <c:v>7866</c:v>
                </c:pt>
                <c:pt idx="126">
                  <c:v>8210</c:v>
                </c:pt>
                <c:pt idx="127">
                  <c:v>9417</c:v>
                </c:pt>
                <c:pt idx="128">
                  <c:v>9008</c:v>
                </c:pt>
                <c:pt idx="129">
                  <c:v>8446</c:v>
                </c:pt>
                <c:pt idx="130">
                  <c:v>8690</c:v>
                </c:pt>
                <c:pt idx="131">
                  <c:v>8792</c:v>
                </c:pt>
                <c:pt idx="132">
                  <c:v>8856</c:v>
                </c:pt>
                <c:pt idx="133">
                  <c:v>9122</c:v>
                </c:pt>
                <c:pt idx="134">
                  <c:v>11118</c:v>
                </c:pt>
                <c:pt idx="135">
                  <c:v>8847</c:v>
                </c:pt>
                <c:pt idx="136">
                  <c:v>10236</c:v>
                </c:pt>
                <c:pt idx="137">
                  <c:v>13098</c:v>
                </c:pt>
                <c:pt idx="138">
                  <c:v>13488</c:v>
                </c:pt>
                <c:pt idx="139">
                  <c:v>14887</c:v>
                </c:pt>
                <c:pt idx="140">
                  <c:v>18570</c:v>
                </c:pt>
                <c:pt idx="141">
                  <c:v>19662</c:v>
                </c:pt>
                <c:pt idx="142">
                  <c:v>11502</c:v>
                </c:pt>
                <c:pt idx="143">
                  <c:v>12308</c:v>
                </c:pt>
                <c:pt idx="144">
                  <c:v>12572</c:v>
                </c:pt>
                <c:pt idx="145">
                  <c:v>16766</c:v>
                </c:pt>
                <c:pt idx="146">
                  <c:v>15808</c:v>
                </c:pt>
                <c:pt idx="147">
                  <c:v>13119</c:v>
                </c:pt>
                <c:pt idx="148">
                  <c:v>13220</c:v>
                </c:pt>
                <c:pt idx="149">
                  <c:v>14538</c:v>
                </c:pt>
                <c:pt idx="150">
                  <c:v>14784</c:v>
                </c:pt>
                <c:pt idx="151">
                  <c:v>14686</c:v>
                </c:pt>
                <c:pt idx="152">
                  <c:v>13492</c:v>
                </c:pt>
                <c:pt idx="153">
                  <c:v>11391</c:v>
                </c:pt>
                <c:pt idx="154">
                  <c:v>11194</c:v>
                </c:pt>
                <c:pt idx="155">
                  <c:v>10137</c:v>
                </c:pt>
                <c:pt idx="156">
                  <c:v>9978</c:v>
                </c:pt>
                <c:pt idx="157">
                  <c:v>11187</c:v>
                </c:pt>
                <c:pt idx="158">
                  <c:v>13501</c:v>
                </c:pt>
                <c:pt idx="159">
                  <c:v>12567</c:v>
                </c:pt>
                <c:pt idx="160">
                  <c:v>13354</c:v>
                </c:pt>
                <c:pt idx="161">
                  <c:v>12502</c:v>
                </c:pt>
                <c:pt idx="162">
                  <c:v>11322</c:v>
                </c:pt>
                <c:pt idx="163">
                  <c:v>12355</c:v>
                </c:pt>
                <c:pt idx="164">
                  <c:v>13557</c:v>
                </c:pt>
                <c:pt idx="165">
                  <c:v>11810</c:v>
                </c:pt>
                <c:pt idx="166">
                  <c:v>11286</c:v>
                </c:pt>
                <c:pt idx="167">
                  <c:v>12582</c:v>
                </c:pt>
                <c:pt idx="168">
                  <c:v>10435</c:v>
                </c:pt>
                <c:pt idx="169">
                  <c:v>10037</c:v>
                </c:pt>
                <c:pt idx="170">
                  <c:v>10414</c:v>
                </c:pt>
                <c:pt idx="171">
                  <c:v>12876</c:v>
                </c:pt>
                <c:pt idx="172">
                  <c:v>15322</c:v>
                </c:pt>
                <c:pt idx="173">
                  <c:v>17600</c:v>
                </c:pt>
                <c:pt idx="174">
                  <c:v>15802</c:v>
                </c:pt>
                <c:pt idx="175">
                  <c:v>15774</c:v>
                </c:pt>
                <c:pt idx="176">
                  <c:v>14676</c:v>
                </c:pt>
                <c:pt idx="177">
                  <c:v>12119</c:v>
                </c:pt>
                <c:pt idx="178">
                  <c:v>18189</c:v>
                </c:pt>
                <c:pt idx="179">
                  <c:v>41557</c:v>
                </c:pt>
                <c:pt idx="180">
                  <c:v>35862</c:v>
                </c:pt>
                <c:pt idx="181">
                  <c:v>33078</c:v>
                </c:pt>
                <c:pt idx="182">
                  <c:v>28580</c:v>
                </c:pt>
                <c:pt idx="183">
                  <c:v>32576</c:v>
                </c:pt>
                <c:pt idx="184">
                  <c:v>24920</c:v>
                </c:pt>
                <c:pt idx="185">
                  <c:v>25839</c:v>
                </c:pt>
                <c:pt idx="186">
                  <c:v>27905</c:v>
                </c:pt>
                <c:pt idx="187">
                  <c:v>34445</c:v>
                </c:pt>
                <c:pt idx="188">
                  <c:v>44626</c:v>
                </c:pt>
                <c:pt idx="189">
                  <c:v>42665</c:v>
                </c:pt>
                <c:pt idx="190">
                  <c:v>52398</c:v>
                </c:pt>
                <c:pt idx="191">
                  <c:v>46949</c:v>
                </c:pt>
                <c:pt idx="192">
                  <c:v>44113</c:v>
                </c:pt>
                <c:pt idx="193">
                  <c:v>50770</c:v>
                </c:pt>
                <c:pt idx="194">
                  <c:v>48924</c:v>
                </c:pt>
                <c:pt idx="195">
                  <c:v>49632</c:v>
                </c:pt>
                <c:pt idx="196">
                  <c:v>63243</c:v>
                </c:pt>
                <c:pt idx="197">
                  <c:v>65878</c:v>
                </c:pt>
                <c:pt idx="198">
                  <c:v>53294</c:v>
                </c:pt>
                <c:pt idx="199">
                  <c:v>72738</c:v>
                </c:pt>
                <c:pt idx="200">
                  <c:v>72606</c:v>
                </c:pt>
                <c:pt idx="201">
                  <c:v>53213</c:v>
                </c:pt>
                <c:pt idx="202">
                  <c:v>47476</c:v>
                </c:pt>
                <c:pt idx="203">
                  <c:v>60295</c:v>
                </c:pt>
                <c:pt idx="204">
                  <c:v>54767</c:v>
                </c:pt>
                <c:pt idx="205">
                  <c:v>43391</c:v>
                </c:pt>
                <c:pt idx="206">
                  <c:v>52487</c:v>
                </c:pt>
                <c:pt idx="207">
                  <c:v>48178</c:v>
                </c:pt>
                <c:pt idx="208">
                  <c:v>56097</c:v>
                </c:pt>
                <c:pt idx="209">
                  <c:v>48638</c:v>
                </c:pt>
                <c:pt idx="210">
                  <c:v>54838</c:v>
                </c:pt>
                <c:pt idx="211">
                  <c:v>57252</c:v>
                </c:pt>
                <c:pt idx="212">
                  <c:v>59031</c:v>
                </c:pt>
                <c:pt idx="213">
                  <c:v>67904</c:v>
                </c:pt>
                <c:pt idx="214">
                  <c:v>68721</c:v>
                </c:pt>
                <c:pt idx="215">
                  <c:v>69957</c:v>
                </c:pt>
                <c:pt idx="216">
                  <c:v>48897</c:v>
                </c:pt>
                <c:pt idx="217">
                  <c:v>61664</c:v>
                </c:pt>
                <c:pt idx="218">
                  <c:v>61514</c:v>
                </c:pt>
                <c:pt idx="219">
                  <c:v>73948</c:v>
                </c:pt>
                <c:pt idx="220">
                  <c:v>61736</c:v>
                </c:pt>
                <c:pt idx="221">
                  <c:v>67914</c:v>
                </c:pt>
                <c:pt idx="222">
                  <c:v>67311</c:v>
                </c:pt>
                <c:pt idx="223">
                  <c:v>56835</c:v>
                </c:pt>
                <c:pt idx="224">
                  <c:v>55978</c:v>
                </c:pt>
                <c:pt idx="225">
                  <c:v>53190</c:v>
                </c:pt>
                <c:pt idx="226">
                  <c:v>53393</c:v>
                </c:pt>
                <c:pt idx="227">
                  <c:v>52763</c:v>
                </c:pt>
                <c:pt idx="228">
                  <c:v>60607</c:v>
                </c:pt>
                <c:pt idx="229">
                  <c:v>66389</c:v>
                </c:pt>
                <c:pt idx="230">
                  <c:v>49932</c:v>
                </c:pt>
                <c:pt idx="231">
                  <c:v>56395</c:v>
                </c:pt>
                <c:pt idx="232">
                  <c:v>58709</c:v>
                </c:pt>
                <c:pt idx="233">
                  <c:v>58549</c:v>
                </c:pt>
                <c:pt idx="234">
                  <c:v>75276</c:v>
                </c:pt>
                <c:pt idx="235">
                  <c:v>66674</c:v>
                </c:pt>
                <c:pt idx="236">
                  <c:v>57854</c:v>
                </c:pt>
                <c:pt idx="237">
                  <c:v>57857</c:v>
                </c:pt>
                <c:pt idx="238">
                  <c:v>53207</c:v>
                </c:pt>
                <c:pt idx="239">
                  <c:v>66071</c:v>
                </c:pt>
                <c:pt idx="240">
                  <c:v>56219</c:v>
                </c:pt>
                <c:pt idx="241">
                  <c:v>61371</c:v>
                </c:pt>
                <c:pt idx="242">
                  <c:v>122541</c:v>
                </c:pt>
                <c:pt idx="243">
                  <c:v>79088</c:v>
                </c:pt>
                <c:pt idx="244">
                  <c:v>85706</c:v>
                </c:pt>
                <c:pt idx="245">
                  <c:v>103357</c:v>
                </c:pt>
                <c:pt idx="246">
                  <c:v>111850</c:v>
                </c:pt>
                <c:pt idx="247">
                  <c:v>104188</c:v>
                </c:pt>
                <c:pt idx="248">
                  <c:v>119645</c:v>
                </c:pt>
                <c:pt idx="249">
                  <c:v>121218</c:v>
                </c:pt>
                <c:pt idx="250">
                  <c:v>125424</c:v>
                </c:pt>
                <c:pt idx="251">
                  <c:v>77301</c:v>
                </c:pt>
                <c:pt idx="252">
                  <c:v>74008</c:v>
                </c:pt>
                <c:pt idx="253">
                  <c:v>65172</c:v>
                </c:pt>
                <c:pt idx="254">
                  <c:v>67535</c:v>
                </c:pt>
                <c:pt idx="255">
                  <c:v>78404</c:v>
                </c:pt>
                <c:pt idx="256">
                  <c:v>82689</c:v>
                </c:pt>
                <c:pt idx="257">
                  <c:v>67894</c:v>
                </c:pt>
                <c:pt idx="258">
                  <c:v>72275</c:v>
                </c:pt>
                <c:pt idx="259">
                  <c:v>70429</c:v>
                </c:pt>
                <c:pt idx="260">
                  <c:v>79746</c:v>
                </c:pt>
                <c:pt idx="261">
                  <c:v>92447</c:v>
                </c:pt>
                <c:pt idx="262">
                  <c:v>98640</c:v>
                </c:pt>
                <c:pt idx="263">
                  <c:v>85516</c:v>
                </c:pt>
                <c:pt idx="264">
                  <c:v>77610</c:v>
                </c:pt>
                <c:pt idx="265">
                  <c:v>76259</c:v>
                </c:pt>
                <c:pt idx="266">
                  <c:v>69659</c:v>
                </c:pt>
                <c:pt idx="267">
                  <c:v>75014</c:v>
                </c:pt>
                <c:pt idx="268">
                  <c:v>65273</c:v>
                </c:pt>
                <c:pt idx="269">
                  <c:v>65422</c:v>
                </c:pt>
                <c:pt idx="270">
                  <c:v>68031</c:v>
                </c:pt>
                <c:pt idx="271">
                  <c:v>63954</c:v>
                </c:pt>
                <c:pt idx="272">
                  <c:v>66611</c:v>
                </c:pt>
                <c:pt idx="273">
                  <c:v>75148</c:v>
                </c:pt>
                <c:pt idx="274">
                  <c:v>80544</c:v>
                </c:pt>
                <c:pt idx="275">
                  <c:v>88030</c:v>
                </c:pt>
                <c:pt idx="276">
                  <c:v>87320</c:v>
                </c:pt>
                <c:pt idx="277">
                  <c:v>67493</c:v>
                </c:pt>
                <c:pt idx="278">
                  <c:v>59887</c:v>
                </c:pt>
                <c:pt idx="279">
                  <c:v>53799</c:v>
                </c:pt>
                <c:pt idx="280">
                  <c:v>61541</c:v>
                </c:pt>
                <c:pt idx="281">
                  <c:v>69008</c:v>
                </c:pt>
                <c:pt idx="282">
                  <c:v>65340</c:v>
                </c:pt>
                <c:pt idx="283">
                  <c:v>67341</c:v>
                </c:pt>
                <c:pt idx="284">
                  <c:v>62026</c:v>
                </c:pt>
                <c:pt idx="285">
                  <c:v>62145</c:v>
                </c:pt>
                <c:pt idx="286">
                  <c:v>65101</c:v>
                </c:pt>
                <c:pt idx="287">
                  <c:v>65884</c:v>
                </c:pt>
                <c:pt idx="288">
                  <c:v>59732</c:v>
                </c:pt>
                <c:pt idx="289">
                  <c:v>66437</c:v>
                </c:pt>
                <c:pt idx="290">
                  <c:v>80461</c:v>
                </c:pt>
                <c:pt idx="291">
                  <c:v>67688</c:v>
                </c:pt>
                <c:pt idx="292">
                  <c:v>73191</c:v>
                </c:pt>
                <c:pt idx="293">
                  <c:v>71910</c:v>
                </c:pt>
                <c:pt idx="294">
                  <c:v>71617</c:v>
                </c:pt>
                <c:pt idx="295">
                  <c:v>72097</c:v>
                </c:pt>
                <c:pt idx="296">
                  <c:v>66250</c:v>
                </c:pt>
                <c:pt idx="297">
                  <c:v>64427</c:v>
                </c:pt>
                <c:pt idx="298">
                  <c:v>61067</c:v>
                </c:pt>
                <c:pt idx="299">
                  <c:v>62025</c:v>
                </c:pt>
                <c:pt idx="300">
                  <c:v>65232</c:v>
                </c:pt>
                <c:pt idx="301">
                  <c:v>72104</c:v>
                </c:pt>
                <c:pt idx="302">
                  <c:v>68013</c:v>
                </c:pt>
                <c:pt idx="303">
                  <c:v>66058</c:v>
                </c:pt>
                <c:pt idx="304">
                  <c:v>62614</c:v>
                </c:pt>
                <c:pt idx="305">
                  <c:v>61894</c:v>
                </c:pt>
                <c:pt idx="306">
                  <c:v>60449</c:v>
                </c:pt>
                <c:pt idx="307">
                  <c:v>73931</c:v>
                </c:pt>
                <c:pt idx="308">
                  <c:v>63768</c:v>
                </c:pt>
                <c:pt idx="309">
                  <c:v>56549</c:v>
                </c:pt>
                <c:pt idx="310">
                  <c:v>53320</c:v>
                </c:pt>
                <c:pt idx="311">
                  <c:v>54054</c:v>
                </c:pt>
                <c:pt idx="312">
                  <c:v>57003</c:v>
                </c:pt>
                <c:pt idx="313">
                  <c:v>62960</c:v>
                </c:pt>
                <c:pt idx="314">
                  <c:v>57670</c:v>
                </c:pt>
                <c:pt idx="315">
                  <c:v>45516</c:v>
                </c:pt>
                <c:pt idx="316">
                  <c:v>49177</c:v>
                </c:pt>
                <c:pt idx="317">
                  <c:v>48799</c:v>
                </c:pt>
                <c:pt idx="318">
                  <c:v>57753</c:v>
                </c:pt>
                <c:pt idx="319">
                  <c:v>63663</c:v>
                </c:pt>
                <c:pt idx="320">
                  <c:v>61486</c:v>
                </c:pt>
                <c:pt idx="321">
                  <c:v>53231</c:v>
                </c:pt>
                <c:pt idx="322">
                  <c:v>66533</c:v>
                </c:pt>
                <c:pt idx="323">
                  <c:v>55816</c:v>
                </c:pt>
                <c:pt idx="324">
                  <c:v>38053</c:v>
                </c:pt>
                <c:pt idx="325">
                  <c:v>40349</c:v>
                </c:pt>
                <c:pt idx="326">
                  <c:v>42464</c:v>
                </c:pt>
                <c:pt idx="327">
                  <c:v>45817</c:v>
                </c:pt>
                <c:pt idx="328">
                  <c:v>58134</c:v>
                </c:pt>
                <c:pt idx="329">
                  <c:v>61440</c:v>
                </c:pt>
                <c:pt idx="330">
                  <c:v>57314</c:v>
                </c:pt>
                <c:pt idx="331">
                  <c:v>50059</c:v>
                </c:pt>
                <c:pt idx="332">
                  <c:v>55381</c:v>
                </c:pt>
                <c:pt idx="333">
                  <c:v>59167</c:v>
                </c:pt>
                <c:pt idx="334">
                  <c:v>59949</c:v>
                </c:pt>
                <c:pt idx="335">
                  <c:v>53542</c:v>
                </c:pt>
                <c:pt idx="336">
                  <c:v>61081</c:v>
                </c:pt>
                <c:pt idx="337">
                  <c:v>54067</c:v>
                </c:pt>
                <c:pt idx="338">
                  <c:v>56287</c:v>
                </c:pt>
                <c:pt idx="339">
                  <c:v>62307</c:v>
                </c:pt>
                <c:pt idx="340">
                  <c:v>65231</c:v>
                </c:pt>
                <c:pt idx="341">
                  <c:v>61138</c:v>
                </c:pt>
                <c:pt idx="342">
                  <c:v>57586</c:v>
                </c:pt>
                <c:pt idx="343">
                  <c:v>43122</c:v>
                </c:pt>
                <c:pt idx="344">
                  <c:v>44961</c:v>
                </c:pt>
                <c:pt idx="345">
                  <c:v>46844</c:v>
                </c:pt>
                <c:pt idx="346">
                  <c:v>45132</c:v>
                </c:pt>
                <c:pt idx="347">
                  <c:v>49308</c:v>
                </c:pt>
                <c:pt idx="348">
                  <c:v>45084</c:v>
                </c:pt>
                <c:pt idx="349">
                  <c:v>42529</c:v>
                </c:pt>
                <c:pt idx="350">
                  <c:v>44298</c:v>
                </c:pt>
                <c:pt idx="351">
                  <c:v>35899</c:v>
                </c:pt>
                <c:pt idx="352">
                  <c:v>32965</c:v>
                </c:pt>
                <c:pt idx="353">
                  <c:v>33618</c:v>
                </c:pt>
                <c:pt idx="354">
                  <c:v>33468</c:v>
                </c:pt>
                <c:pt idx="355">
                  <c:v>33996</c:v>
                </c:pt>
                <c:pt idx="356">
                  <c:v>35757</c:v>
                </c:pt>
                <c:pt idx="357">
                  <c:v>35184</c:v>
                </c:pt>
                <c:pt idx="358">
                  <c:v>33273</c:v>
                </c:pt>
                <c:pt idx="359">
                  <c:v>33854</c:v>
                </c:pt>
                <c:pt idx="360">
                  <c:v>38655</c:v>
                </c:pt>
                <c:pt idx="361">
                  <c:v>46901</c:v>
                </c:pt>
                <c:pt idx="362">
                  <c:v>67587</c:v>
                </c:pt>
                <c:pt idx="363">
                  <c:v>48884</c:v>
                </c:pt>
                <c:pt idx="364">
                  <c:v>54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001-464D-9894-9DA9E76B0E8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acebook- Other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F$2:$F$366</c:f>
              <c:numCache>
                <c:formatCode>General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2600</c:v>
                </c:pt>
                <c:pt idx="309">
                  <c:v>18018</c:v>
                </c:pt>
                <c:pt idx="310">
                  <c:v>18726</c:v>
                </c:pt>
                <c:pt idx="311">
                  <c:v>14084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CA-4DDE-BADF-0B9DDAD49E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17286824"/>
        <c:axId val="817294696"/>
      </c:barChar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A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rgbClr val="FFC000"/>
              </a:solidFill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F001-464D-9894-9DA9E76B0E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17286824"/>
        <c:axId val="8172946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Revenue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E$2:$E$366</c:f>
              <c:numCache>
                <c:formatCode>General</c:formatCode>
                <c:ptCount val="365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001-464D-9894-9DA9E76B0E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dateAx>
        <c:axId val="-955199408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 val="autoZero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Revenue (in USD)</a:t>
                </a:r>
                <a:endParaRPr lang="en-IN" b="1"/>
              </a:p>
            </c:rich>
          </c:tx>
          <c:layout>
            <c:manualLayout>
              <c:xMode val="edge"/>
              <c:yMode val="edge"/>
              <c:x val="1.7067833942136307E-2"/>
              <c:y val="0.214663826403764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817294696"/>
        <c:scaling>
          <c:orientation val="minMax"/>
          <c:max val="1000000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7286824"/>
        <c:crosses val="max"/>
        <c:crossBetween val="between"/>
        <c:dispUnits>
          <c:builtInUnit val="thousands"/>
          <c:dispUnitsLbl>
            <c:layout>
              <c:manualLayout>
                <c:xMode val="edge"/>
                <c:yMode val="edge"/>
                <c:x val="0.97377808134685484"/>
                <c:y val="0.26060930718477648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IN" b="1" dirty="0"/>
                    <a:t>Impressions</a:t>
                  </a:r>
                  <a:r>
                    <a:rPr lang="en-IN" b="1" baseline="0" dirty="0"/>
                    <a:t> (000’)</a:t>
                  </a:r>
                  <a:endParaRPr lang="en-IN" b="1" dirty="0"/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dateAx>
        <c:axId val="817286824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817294696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073933479894846"/>
          <c:y val="0.89640992560702837"/>
          <c:w val="0.43318714268677638"/>
          <c:h val="6.44093085870944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sz="1400" b="1" i="0" kern="1200" spc="0" baseline="0" dirty="0">
                <a:solidFill>
                  <a:srgbClr val="000000"/>
                </a:solidFill>
                <a:effectLst/>
              </a:rPr>
              <a:t>Display Network</a:t>
            </a:r>
            <a:endParaRPr lang="en-IN" sz="14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647250685203459E-2"/>
          <c:y val="0.1110100897260959"/>
          <c:w val="0.85009385801103066"/>
          <c:h val="0.589940247672507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play Network Impression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#,##0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50769</c:v>
                </c:pt>
                <c:pt idx="107">
                  <c:v>65044</c:v>
                </c:pt>
                <c:pt idx="108">
                  <c:v>38722</c:v>
                </c:pt>
                <c:pt idx="109">
                  <c:v>33979</c:v>
                </c:pt>
                <c:pt idx="110">
                  <c:v>32650</c:v>
                </c:pt>
                <c:pt idx="111">
                  <c:v>20888</c:v>
                </c:pt>
                <c:pt idx="112">
                  <c:v>23123</c:v>
                </c:pt>
                <c:pt idx="113">
                  <c:v>102803</c:v>
                </c:pt>
                <c:pt idx="114">
                  <c:v>34703</c:v>
                </c:pt>
                <c:pt idx="115">
                  <c:v>73310</c:v>
                </c:pt>
                <c:pt idx="116">
                  <c:v>47243</c:v>
                </c:pt>
                <c:pt idx="117">
                  <c:v>273704</c:v>
                </c:pt>
                <c:pt idx="118">
                  <c:v>96930</c:v>
                </c:pt>
                <c:pt idx="119">
                  <c:v>334057</c:v>
                </c:pt>
                <c:pt idx="120">
                  <c:v>1379161</c:v>
                </c:pt>
                <c:pt idx="121">
                  <c:v>601560</c:v>
                </c:pt>
                <c:pt idx="122">
                  <c:v>363047</c:v>
                </c:pt>
                <c:pt idx="123">
                  <c:v>1198496</c:v>
                </c:pt>
                <c:pt idx="124">
                  <c:v>1134114</c:v>
                </c:pt>
                <c:pt idx="125">
                  <c:v>1067271</c:v>
                </c:pt>
                <c:pt idx="126">
                  <c:v>2290899</c:v>
                </c:pt>
                <c:pt idx="127">
                  <c:v>315365</c:v>
                </c:pt>
                <c:pt idx="128">
                  <c:v>180879</c:v>
                </c:pt>
                <c:pt idx="129">
                  <c:v>572966</c:v>
                </c:pt>
                <c:pt idx="130">
                  <c:v>2364760</c:v>
                </c:pt>
                <c:pt idx="131">
                  <c:v>4278426</c:v>
                </c:pt>
                <c:pt idx="132">
                  <c:v>1619614</c:v>
                </c:pt>
                <c:pt idx="133">
                  <c:v>794907</c:v>
                </c:pt>
                <c:pt idx="134">
                  <c:v>819589</c:v>
                </c:pt>
                <c:pt idx="135">
                  <c:v>1548341</c:v>
                </c:pt>
                <c:pt idx="136">
                  <c:v>1500040</c:v>
                </c:pt>
                <c:pt idx="137">
                  <c:v>256918</c:v>
                </c:pt>
                <c:pt idx="138">
                  <c:v>120128</c:v>
                </c:pt>
                <c:pt idx="139">
                  <c:v>102810</c:v>
                </c:pt>
                <c:pt idx="140">
                  <c:v>225683</c:v>
                </c:pt>
                <c:pt idx="141">
                  <c:v>302065</c:v>
                </c:pt>
                <c:pt idx="142">
                  <c:v>165158</c:v>
                </c:pt>
                <c:pt idx="143">
                  <c:v>59118</c:v>
                </c:pt>
                <c:pt idx="144">
                  <c:v>84278</c:v>
                </c:pt>
                <c:pt idx="145">
                  <c:v>45021</c:v>
                </c:pt>
                <c:pt idx="146">
                  <c:v>46851</c:v>
                </c:pt>
                <c:pt idx="147">
                  <c:v>78738</c:v>
                </c:pt>
                <c:pt idx="148">
                  <c:v>67637</c:v>
                </c:pt>
                <c:pt idx="149">
                  <c:v>833820</c:v>
                </c:pt>
                <c:pt idx="150">
                  <c:v>1184964</c:v>
                </c:pt>
                <c:pt idx="151">
                  <c:v>752871</c:v>
                </c:pt>
                <c:pt idx="152">
                  <c:v>714436</c:v>
                </c:pt>
                <c:pt idx="153">
                  <c:v>742895</c:v>
                </c:pt>
                <c:pt idx="154">
                  <c:v>1006999</c:v>
                </c:pt>
                <c:pt idx="155">
                  <c:v>633875</c:v>
                </c:pt>
                <c:pt idx="156">
                  <c:v>143829</c:v>
                </c:pt>
                <c:pt idx="157">
                  <c:v>280735</c:v>
                </c:pt>
                <c:pt idx="158">
                  <c:v>472207</c:v>
                </c:pt>
                <c:pt idx="159">
                  <c:v>162182</c:v>
                </c:pt>
                <c:pt idx="160">
                  <c:v>114965</c:v>
                </c:pt>
                <c:pt idx="161">
                  <c:v>236692</c:v>
                </c:pt>
                <c:pt idx="162">
                  <c:v>706929</c:v>
                </c:pt>
                <c:pt idx="163">
                  <c:v>649528</c:v>
                </c:pt>
                <c:pt idx="164">
                  <c:v>277329</c:v>
                </c:pt>
                <c:pt idx="165">
                  <c:v>756661</c:v>
                </c:pt>
                <c:pt idx="166">
                  <c:v>232153</c:v>
                </c:pt>
                <c:pt idx="167">
                  <c:v>144697</c:v>
                </c:pt>
                <c:pt idx="168">
                  <c:v>259984</c:v>
                </c:pt>
                <c:pt idx="169">
                  <c:v>429346</c:v>
                </c:pt>
                <c:pt idx="170">
                  <c:v>407711</c:v>
                </c:pt>
                <c:pt idx="171">
                  <c:v>207324</c:v>
                </c:pt>
                <c:pt idx="172">
                  <c:v>221619</c:v>
                </c:pt>
                <c:pt idx="173">
                  <c:v>227637</c:v>
                </c:pt>
                <c:pt idx="174">
                  <c:v>118754</c:v>
                </c:pt>
                <c:pt idx="175">
                  <c:v>191930</c:v>
                </c:pt>
                <c:pt idx="176">
                  <c:v>114871</c:v>
                </c:pt>
                <c:pt idx="177">
                  <c:v>264251</c:v>
                </c:pt>
                <c:pt idx="178">
                  <c:v>220454</c:v>
                </c:pt>
                <c:pt idx="179">
                  <c:v>474983</c:v>
                </c:pt>
                <c:pt idx="180">
                  <c:v>390896</c:v>
                </c:pt>
                <c:pt idx="181">
                  <c:v>544603</c:v>
                </c:pt>
                <c:pt idx="182">
                  <c:v>163066</c:v>
                </c:pt>
                <c:pt idx="183">
                  <c:v>120686</c:v>
                </c:pt>
                <c:pt idx="184">
                  <c:v>78008</c:v>
                </c:pt>
                <c:pt idx="185">
                  <c:v>109545</c:v>
                </c:pt>
                <c:pt idx="186">
                  <c:v>100505</c:v>
                </c:pt>
                <c:pt idx="187">
                  <c:v>180045</c:v>
                </c:pt>
                <c:pt idx="188">
                  <c:v>109284</c:v>
                </c:pt>
                <c:pt idx="189">
                  <c:v>143973</c:v>
                </c:pt>
                <c:pt idx="190">
                  <c:v>126691</c:v>
                </c:pt>
                <c:pt idx="191">
                  <c:v>170404</c:v>
                </c:pt>
                <c:pt idx="192">
                  <c:v>163829</c:v>
                </c:pt>
                <c:pt idx="193">
                  <c:v>199541</c:v>
                </c:pt>
                <c:pt idx="194">
                  <c:v>114277</c:v>
                </c:pt>
                <c:pt idx="195">
                  <c:v>391804</c:v>
                </c:pt>
                <c:pt idx="196">
                  <c:v>615234</c:v>
                </c:pt>
                <c:pt idx="197">
                  <c:v>264790</c:v>
                </c:pt>
                <c:pt idx="198">
                  <c:v>1730158</c:v>
                </c:pt>
                <c:pt idx="199">
                  <c:v>1024218</c:v>
                </c:pt>
                <c:pt idx="200">
                  <c:v>536296</c:v>
                </c:pt>
                <c:pt idx="201">
                  <c:v>676920</c:v>
                </c:pt>
                <c:pt idx="202">
                  <c:v>789956</c:v>
                </c:pt>
                <c:pt idx="203">
                  <c:v>1540113</c:v>
                </c:pt>
                <c:pt idx="204">
                  <c:v>957556</c:v>
                </c:pt>
                <c:pt idx="205">
                  <c:v>625076</c:v>
                </c:pt>
                <c:pt idx="206">
                  <c:v>750150</c:v>
                </c:pt>
                <c:pt idx="207">
                  <c:v>745309</c:v>
                </c:pt>
                <c:pt idx="208">
                  <c:v>624202</c:v>
                </c:pt>
                <c:pt idx="209">
                  <c:v>615725</c:v>
                </c:pt>
                <c:pt idx="210">
                  <c:v>203306</c:v>
                </c:pt>
                <c:pt idx="211">
                  <c:v>331543</c:v>
                </c:pt>
                <c:pt idx="212">
                  <c:v>237355</c:v>
                </c:pt>
                <c:pt idx="213">
                  <c:v>388009</c:v>
                </c:pt>
                <c:pt idx="214">
                  <c:v>617917</c:v>
                </c:pt>
                <c:pt idx="215">
                  <c:v>213103</c:v>
                </c:pt>
                <c:pt idx="216">
                  <c:v>234194</c:v>
                </c:pt>
                <c:pt idx="217">
                  <c:v>253605</c:v>
                </c:pt>
                <c:pt idx="218">
                  <c:v>138696</c:v>
                </c:pt>
                <c:pt idx="219">
                  <c:v>483881</c:v>
                </c:pt>
                <c:pt idx="220">
                  <c:v>266902</c:v>
                </c:pt>
                <c:pt idx="221">
                  <c:v>203197</c:v>
                </c:pt>
                <c:pt idx="222">
                  <c:v>167543</c:v>
                </c:pt>
                <c:pt idx="223">
                  <c:v>106326</c:v>
                </c:pt>
                <c:pt idx="224">
                  <c:v>150498</c:v>
                </c:pt>
                <c:pt idx="225">
                  <c:v>216401</c:v>
                </c:pt>
                <c:pt idx="226">
                  <c:v>195038</c:v>
                </c:pt>
                <c:pt idx="227">
                  <c:v>212274</c:v>
                </c:pt>
                <c:pt idx="228">
                  <c:v>126378</c:v>
                </c:pt>
                <c:pt idx="229">
                  <c:v>143008</c:v>
                </c:pt>
                <c:pt idx="230">
                  <c:v>120419</c:v>
                </c:pt>
                <c:pt idx="231">
                  <c:v>178638</c:v>
                </c:pt>
                <c:pt idx="232">
                  <c:v>203262</c:v>
                </c:pt>
                <c:pt idx="233">
                  <c:v>225868</c:v>
                </c:pt>
                <c:pt idx="234">
                  <c:v>131390</c:v>
                </c:pt>
                <c:pt idx="235">
                  <c:v>151441</c:v>
                </c:pt>
                <c:pt idx="236">
                  <c:v>116845</c:v>
                </c:pt>
                <c:pt idx="237">
                  <c:v>131063</c:v>
                </c:pt>
                <c:pt idx="238">
                  <c:v>141247</c:v>
                </c:pt>
                <c:pt idx="239">
                  <c:v>162613</c:v>
                </c:pt>
                <c:pt idx="240">
                  <c:v>109875</c:v>
                </c:pt>
                <c:pt idx="241">
                  <c:v>183502</c:v>
                </c:pt>
                <c:pt idx="242">
                  <c:v>194716</c:v>
                </c:pt>
                <c:pt idx="243">
                  <c:v>395375</c:v>
                </c:pt>
                <c:pt idx="244">
                  <c:v>531812</c:v>
                </c:pt>
                <c:pt idx="245">
                  <c:v>399947</c:v>
                </c:pt>
                <c:pt idx="246">
                  <c:v>401749</c:v>
                </c:pt>
                <c:pt idx="247">
                  <c:v>415437</c:v>
                </c:pt>
                <c:pt idx="248">
                  <c:v>318252</c:v>
                </c:pt>
                <c:pt idx="249">
                  <c:v>312863</c:v>
                </c:pt>
                <c:pt idx="250">
                  <c:v>311222</c:v>
                </c:pt>
                <c:pt idx="251">
                  <c:v>207533</c:v>
                </c:pt>
                <c:pt idx="252">
                  <c:v>751682</c:v>
                </c:pt>
                <c:pt idx="253">
                  <c:v>300245</c:v>
                </c:pt>
                <c:pt idx="254">
                  <c:v>156141</c:v>
                </c:pt>
                <c:pt idx="255">
                  <c:v>173577</c:v>
                </c:pt>
                <c:pt idx="256">
                  <c:v>123027</c:v>
                </c:pt>
                <c:pt idx="257">
                  <c:v>96338</c:v>
                </c:pt>
                <c:pt idx="258">
                  <c:v>74651</c:v>
                </c:pt>
                <c:pt idx="259">
                  <c:v>60467</c:v>
                </c:pt>
                <c:pt idx="260">
                  <c:v>62722</c:v>
                </c:pt>
                <c:pt idx="261">
                  <c:v>71420</c:v>
                </c:pt>
                <c:pt idx="262">
                  <c:v>103754</c:v>
                </c:pt>
                <c:pt idx="263">
                  <c:v>73133</c:v>
                </c:pt>
                <c:pt idx="264">
                  <c:v>81905</c:v>
                </c:pt>
                <c:pt idx="265">
                  <c:v>83408</c:v>
                </c:pt>
                <c:pt idx="266">
                  <c:v>111612</c:v>
                </c:pt>
                <c:pt idx="267">
                  <c:v>146927</c:v>
                </c:pt>
                <c:pt idx="268">
                  <c:v>152112</c:v>
                </c:pt>
                <c:pt idx="269">
                  <c:v>206517</c:v>
                </c:pt>
                <c:pt idx="270">
                  <c:v>191402</c:v>
                </c:pt>
                <c:pt idx="271">
                  <c:v>114740</c:v>
                </c:pt>
                <c:pt idx="272">
                  <c:v>121405</c:v>
                </c:pt>
                <c:pt idx="273">
                  <c:v>140431</c:v>
                </c:pt>
                <c:pt idx="274">
                  <c:v>137407</c:v>
                </c:pt>
                <c:pt idx="275">
                  <c:v>127486</c:v>
                </c:pt>
                <c:pt idx="276">
                  <c:v>109287</c:v>
                </c:pt>
                <c:pt idx="277">
                  <c:v>82937</c:v>
                </c:pt>
                <c:pt idx="278">
                  <c:v>114405</c:v>
                </c:pt>
                <c:pt idx="279">
                  <c:v>107670</c:v>
                </c:pt>
                <c:pt idx="280">
                  <c:v>117347</c:v>
                </c:pt>
                <c:pt idx="281">
                  <c:v>136913</c:v>
                </c:pt>
                <c:pt idx="282">
                  <c:v>105864</c:v>
                </c:pt>
                <c:pt idx="283">
                  <c:v>146906</c:v>
                </c:pt>
                <c:pt idx="284">
                  <c:v>160815</c:v>
                </c:pt>
                <c:pt idx="285">
                  <c:v>92756</c:v>
                </c:pt>
                <c:pt idx="286">
                  <c:v>83906</c:v>
                </c:pt>
                <c:pt idx="287">
                  <c:v>112534</c:v>
                </c:pt>
                <c:pt idx="288">
                  <c:v>109320</c:v>
                </c:pt>
                <c:pt idx="289">
                  <c:v>97191</c:v>
                </c:pt>
                <c:pt idx="290">
                  <c:v>114731</c:v>
                </c:pt>
                <c:pt idx="291">
                  <c:v>141213</c:v>
                </c:pt>
                <c:pt idx="292">
                  <c:v>151710</c:v>
                </c:pt>
                <c:pt idx="293">
                  <c:v>120558</c:v>
                </c:pt>
                <c:pt idx="294">
                  <c:v>75091</c:v>
                </c:pt>
                <c:pt idx="295">
                  <c:v>106819</c:v>
                </c:pt>
                <c:pt idx="296">
                  <c:v>205561</c:v>
                </c:pt>
                <c:pt idx="297">
                  <c:v>513938</c:v>
                </c:pt>
                <c:pt idx="298">
                  <c:v>474844</c:v>
                </c:pt>
                <c:pt idx="299">
                  <c:v>696321</c:v>
                </c:pt>
                <c:pt idx="300">
                  <c:v>775528</c:v>
                </c:pt>
                <c:pt idx="301">
                  <c:v>419422</c:v>
                </c:pt>
                <c:pt idx="302">
                  <c:v>420869</c:v>
                </c:pt>
                <c:pt idx="303">
                  <c:v>195379</c:v>
                </c:pt>
                <c:pt idx="304">
                  <c:v>190859</c:v>
                </c:pt>
                <c:pt idx="305">
                  <c:v>173205</c:v>
                </c:pt>
                <c:pt idx="306">
                  <c:v>238140</c:v>
                </c:pt>
                <c:pt idx="307">
                  <c:v>729578</c:v>
                </c:pt>
                <c:pt idx="308">
                  <c:v>1436919</c:v>
                </c:pt>
                <c:pt idx="309">
                  <c:v>815527</c:v>
                </c:pt>
                <c:pt idx="310">
                  <c:v>338997</c:v>
                </c:pt>
                <c:pt idx="311">
                  <c:v>184087</c:v>
                </c:pt>
                <c:pt idx="312">
                  <c:v>153933</c:v>
                </c:pt>
                <c:pt idx="313">
                  <c:v>118631</c:v>
                </c:pt>
                <c:pt idx="314">
                  <c:v>95850</c:v>
                </c:pt>
                <c:pt idx="315">
                  <c:v>179178</c:v>
                </c:pt>
                <c:pt idx="316">
                  <c:v>369159</c:v>
                </c:pt>
                <c:pt idx="317">
                  <c:v>191502</c:v>
                </c:pt>
                <c:pt idx="318">
                  <c:v>299307</c:v>
                </c:pt>
                <c:pt idx="319">
                  <c:v>1252658</c:v>
                </c:pt>
                <c:pt idx="320">
                  <c:v>1979872</c:v>
                </c:pt>
                <c:pt idx="321">
                  <c:v>1033976</c:v>
                </c:pt>
                <c:pt idx="322">
                  <c:v>930107</c:v>
                </c:pt>
                <c:pt idx="323">
                  <c:v>508832</c:v>
                </c:pt>
                <c:pt idx="324">
                  <c:v>168463</c:v>
                </c:pt>
                <c:pt idx="325">
                  <c:v>441958</c:v>
                </c:pt>
                <c:pt idx="326">
                  <c:v>1446397</c:v>
                </c:pt>
                <c:pt idx="327">
                  <c:v>980961</c:v>
                </c:pt>
                <c:pt idx="328">
                  <c:v>285632</c:v>
                </c:pt>
                <c:pt idx="329">
                  <c:v>219426</c:v>
                </c:pt>
                <c:pt idx="330">
                  <c:v>271652</c:v>
                </c:pt>
                <c:pt idx="331">
                  <c:v>339869</c:v>
                </c:pt>
                <c:pt idx="332">
                  <c:v>516855</c:v>
                </c:pt>
                <c:pt idx="333">
                  <c:v>318478</c:v>
                </c:pt>
                <c:pt idx="334">
                  <c:v>707410</c:v>
                </c:pt>
                <c:pt idx="335">
                  <c:v>801398</c:v>
                </c:pt>
                <c:pt idx="336">
                  <c:v>1187827</c:v>
                </c:pt>
                <c:pt idx="337">
                  <c:v>828885</c:v>
                </c:pt>
                <c:pt idx="338">
                  <c:v>231894</c:v>
                </c:pt>
                <c:pt idx="339">
                  <c:v>148455</c:v>
                </c:pt>
                <c:pt idx="340">
                  <c:v>102290</c:v>
                </c:pt>
                <c:pt idx="341">
                  <c:v>108819</c:v>
                </c:pt>
                <c:pt idx="342">
                  <c:v>102936</c:v>
                </c:pt>
                <c:pt idx="343">
                  <c:v>146320</c:v>
                </c:pt>
                <c:pt idx="344">
                  <c:v>207394</c:v>
                </c:pt>
                <c:pt idx="345">
                  <c:v>358721</c:v>
                </c:pt>
                <c:pt idx="346">
                  <c:v>746413</c:v>
                </c:pt>
                <c:pt idx="347">
                  <c:v>701601</c:v>
                </c:pt>
                <c:pt idx="348">
                  <c:v>278131</c:v>
                </c:pt>
                <c:pt idx="349">
                  <c:v>415032</c:v>
                </c:pt>
                <c:pt idx="350">
                  <c:v>118556</c:v>
                </c:pt>
                <c:pt idx="351">
                  <c:v>142030</c:v>
                </c:pt>
                <c:pt idx="352">
                  <c:v>153497</c:v>
                </c:pt>
                <c:pt idx="353">
                  <c:v>116631</c:v>
                </c:pt>
                <c:pt idx="354">
                  <c:v>306226</c:v>
                </c:pt>
                <c:pt idx="355">
                  <c:v>299509</c:v>
                </c:pt>
                <c:pt idx="356">
                  <c:v>314330</c:v>
                </c:pt>
                <c:pt idx="357">
                  <c:v>338289</c:v>
                </c:pt>
                <c:pt idx="358">
                  <c:v>522952</c:v>
                </c:pt>
                <c:pt idx="359">
                  <c:v>339972</c:v>
                </c:pt>
                <c:pt idx="360">
                  <c:v>629061</c:v>
                </c:pt>
                <c:pt idx="361">
                  <c:v>378103</c:v>
                </c:pt>
                <c:pt idx="362">
                  <c:v>151261</c:v>
                </c:pt>
                <c:pt idx="363">
                  <c:v>124519</c:v>
                </c:pt>
                <c:pt idx="364">
                  <c:v>141019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45048623"/>
        <c:axId val="1845051535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Revenu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General</c:formatCode>
                <c:ptCount val="365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dateAx>
        <c:axId val="-955199408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 val="autoZero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Revenue (in USD)</a:t>
                </a:r>
                <a:endParaRPr lang="en-IN" b="1"/>
              </a:p>
            </c:rich>
          </c:tx>
          <c:layout>
            <c:manualLayout>
              <c:xMode val="edge"/>
              <c:yMode val="edge"/>
              <c:x val="1.7067833942136307E-2"/>
              <c:y val="0.214663826403764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1845051535"/>
        <c:scaling>
          <c:orientation val="minMax"/>
          <c:max val="25000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b="1" dirty="0">
                    <a:solidFill>
                      <a:schemeClr val="tx1"/>
                    </a:solidFill>
                  </a:rPr>
                  <a:t>Display Network Impressions (‘000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5048623"/>
        <c:crosses val="max"/>
        <c:crossBetween val="between"/>
        <c:dispUnits>
          <c:builtInUnit val="thousands"/>
        </c:dispUnits>
      </c:valAx>
      <c:dateAx>
        <c:axId val="1845048623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45051535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677907955522532"/>
          <c:y val="0.89640992560702837"/>
          <c:w val="0.26644184088954936"/>
          <c:h val="6.44093085870944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sz="1400" b="1" i="0" kern="1200" spc="0" baseline="0" dirty="0">
                <a:solidFill>
                  <a:srgbClr val="000000"/>
                </a:solidFill>
                <a:effectLst/>
              </a:rPr>
              <a:t>YouTube</a:t>
            </a:r>
            <a:endParaRPr lang="en-IN" sz="14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647250685203459E-2"/>
          <c:y val="0.1110100897260959"/>
          <c:w val="0.85009385801103066"/>
          <c:h val="0.589940247672507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outube Impression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#,##0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9258</c:v>
                </c:pt>
                <c:pt idx="107">
                  <c:v>4481</c:v>
                </c:pt>
                <c:pt idx="108">
                  <c:v>150</c:v>
                </c:pt>
                <c:pt idx="109">
                  <c:v>28</c:v>
                </c:pt>
                <c:pt idx="110">
                  <c:v>5</c:v>
                </c:pt>
                <c:pt idx="111">
                  <c:v>62</c:v>
                </c:pt>
                <c:pt idx="112">
                  <c:v>33</c:v>
                </c:pt>
                <c:pt idx="113">
                  <c:v>2062</c:v>
                </c:pt>
                <c:pt idx="114">
                  <c:v>25</c:v>
                </c:pt>
                <c:pt idx="115">
                  <c:v>96</c:v>
                </c:pt>
                <c:pt idx="116">
                  <c:v>40</c:v>
                </c:pt>
                <c:pt idx="117">
                  <c:v>22</c:v>
                </c:pt>
                <c:pt idx="118">
                  <c:v>20</c:v>
                </c:pt>
                <c:pt idx="119">
                  <c:v>15</c:v>
                </c:pt>
                <c:pt idx="120">
                  <c:v>44</c:v>
                </c:pt>
                <c:pt idx="121">
                  <c:v>28</c:v>
                </c:pt>
                <c:pt idx="122">
                  <c:v>34439</c:v>
                </c:pt>
                <c:pt idx="123">
                  <c:v>27</c:v>
                </c:pt>
                <c:pt idx="124">
                  <c:v>6407</c:v>
                </c:pt>
                <c:pt idx="125">
                  <c:v>1153</c:v>
                </c:pt>
                <c:pt idx="126">
                  <c:v>1506</c:v>
                </c:pt>
                <c:pt idx="127">
                  <c:v>6855</c:v>
                </c:pt>
                <c:pt idx="128">
                  <c:v>22684</c:v>
                </c:pt>
                <c:pt idx="129">
                  <c:v>31260</c:v>
                </c:pt>
                <c:pt idx="130">
                  <c:v>20598</c:v>
                </c:pt>
                <c:pt idx="131">
                  <c:v>1579</c:v>
                </c:pt>
                <c:pt idx="132">
                  <c:v>382</c:v>
                </c:pt>
                <c:pt idx="133">
                  <c:v>979</c:v>
                </c:pt>
                <c:pt idx="134">
                  <c:v>65498</c:v>
                </c:pt>
                <c:pt idx="135">
                  <c:v>54367</c:v>
                </c:pt>
                <c:pt idx="136">
                  <c:v>46265</c:v>
                </c:pt>
                <c:pt idx="137">
                  <c:v>1017</c:v>
                </c:pt>
                <c:pt idx="138">
                  <c:v>4602</c:v>
                </c:pt>
                <c:pt idx="139">
                  <c:v>18384</c:v>
                </c:pt>
                <c:pt idx="140">
                  <c:v>42179</c:v>
                </c:pt>
                <c:pt idx="141">
                  <c:v>13936</c:v>
                </c:pt>
                <c:pt idx="142">
                  <c:v>15658</c:v>
                </c:pt>
                <c:pt idx="143">
                  <c:v>5039</c:v>
                </c:pt>
                <c:pt idx="144">
                  <c:v>7438</c:v>
                </c:pt>
                <c:pt idx="145">
                  <c:v>1886</c:v>
                </c:pt>
                <c:pt idx="146">
                  <c:v>908</c:v>
                </c:pt>
                <c:pt idx="147">
                  <c:v>20875</c:v>
                </c:pt>
                <c:pt idx="148">
                  <c:v>164484</c:v>
                </c:pt>
                <c:pt idx="149">
                  <c:v>149059</c:v>
                </c:pt>
                <c:pt idx="150">
                  <c:v>218484</c:v>
                </c:pt>
                <c:pt idx="151">
                  <c:v>76163</c:v>
                </c:pt>
                <c:pt idx="152">
                  <c:v>141806</c:v>
                </c:pt>
                <c:pt idx="153">
                  <c:v>122584</c:v>
                </c:pt>
                <c:pt idx="154">
                  <c:v>278628</c:v>
                </c:pt>
                <c:pt idx="155">
                  <c:v>312770</c:v>
                </c:pt>
                <c:pt idx="156">
                  <c:v>333987</c:v>
                </c:pt>
                <c:pt idx="157">
                  <c:v>244688</c:v>
                </c:pt>
                <c:pt idx="158">
                  <c:v>115937</c:v>
                </c:pt>
                <c:pt idx="159">
                  <c:v>21329</c:v>
                </c:pt>
                <c:pt idx="160">
                  <c:v>39653</c:v>
                </c:pt>
                <c:pt idx="161">
                  <c:v>16072</c:v>
                </c:pt>
                <c:pt idx="162">
                  <c:v>377</c:v>
                </c:pt>
                <c:pt idx="163">
                  <c:v>590</c:v>
                </c:pt>
                <c:pt idx="164">
                  <c:v>1422</c:v>
                </c:pt>
                <c:pt idx="165">
                  <c:v>6380</c:v>
                </c:pt>
                <c:pt idx="166">
                  <c:v>3563</c:v>
                </c:pt>
                <c:pt idx="167">
                  <c:v>2615</c:v>
                </c:pt>
                <c:pt idx="168">
                  <c:v>508</c:v>
                </c:pt>
                <c:pt idx="169">
                  <c:v>375</c:v>
                </c:pt>
                <c:pt idx="170">
                  <c:v>423</c:v>
                </c:pt>
                <c:pt idx="171">
                  <c:v>1490</c:v>
                </c:pt>
                <c:pt idx="172">
                  <c:v>5881</c:v>
                </c:pt>
                <c:pt idx="173">
                  <c:v>234562</c:v>
                </c:pt>
                <c:pt idx="174">
                  <c:v>245428</c:v>
                </c:pt>
                <c:pt idx="175">
                  <c:v>208698</c:v>
                </c:pt>
                <c:pt idx="176">
                  <c:v>177801</c:v>
                </c:pt>
                <c:pt idx="177">
                  <c:v>70141</c:v>
                </c:pt>
                <c:pt idx="178">
                  <c:v>68326</c:v>
                </c:pt>
                <c:pt idx="179">
                  <c:v>130491</c:v>
                </c:pt>
                <c:pt idx="180">
                  <c:v>16548</c:v>
                </c:pt>
                <c:pt idx="181">
                  <c:v>4666</c:v>
                </c:pt>
                <c:pt idx="182">
                  <c:v>1637</c:v>
                </c:pt>
                <c:pt idx="183">
                  <c:v>2271</c:v>
                </c:pt>
                <c:pt idx="184">
                  <c:v>821</c:v>
                </c:pt>
                <c:pt idx="185">
                  <c:v>1607</c:v>
                </c:pt>
                <c:pt idx="186">
                  <c:v>1201</c:v>
                </c:pt>
                <c:pt idx="187">
                  <c:v>2328</c:v>
                </c:pt>
                <c:pt idx="188">
                  <c:v>4191</c:v>
                </c:pt>
                <c:pt idx="189">
                  <c:v>1811</c:v>
                </c:pt>
                <c:pt idx="190">
                  <c:v>845</c:v>
                </c:pt>
                <c:pt idx="191">
                  <c:v>883</c:v>
                </c:pt>
                <c:pt idx="192">
                  <c:v>1262</c:v>
                </c:pt>
                <c:pt idx="193">
                  <c:v>1266</c:v>
                </c:pt>
                <c:pt idx="194">
                  <c:v>1447</c:v>
                </c:pt>
                <c:pt idx="195">
                  <c:v>4712</c:v>
                </c:pt>
                <c:pt idx="196">
                  <c:v>2191</c:v>
                </c:pt>
                <c:pt idx="197">
                  <c:v>3272</c:v>
                </c:pt>
                <c:pt idx="198">
                  <c:v>4531</c:v>
                </c:pt>
                <c:pt idx="199">
                  <c:v>5753</c:v>
                </c:pt>
                <c:pt idx="200">
                  <c:v>10717</c:v>
                </c:pt>
                <c:pt idx="201">
                  <c:v>20464</c:v>
                </c:pt>
                <c:pt idx="202">
                  <c:v>5478</c:v>
                </c:pt>
                <c:pt idx="203">
                  <c:v>1915</c:v>
                </c:pt>
                <c:pt idx="204">
                  <c:v>4374</c:v>
                </c:pt>
                <c:pt idx="205">
                  <c:v>35307</c:v>
                </c:pt>
                <c:pt idx="206">
                  <c:v>116029</c:v>
                </c:pt>
                <c:pt idx="207">
                  <c:v>246117</c:v>
                </c:pt>
                <c:pt idx="208">
                  <c:v>145043</c:v>
                </c:pt>
                <c:pt idx="209">
                  <c:v>152912</c:v>
                </c:pt>
                <c:pt idx="210">
                  <c:v>8419</c:v>
                </c:pt>
                <c:pt idx="211">
                  <c:v>12031</c:v>
                </c:pt>
                <c:pt idx="212">
                  <c:v>170994</c:v>
                </c:pt>
                <c:pt idx="213">
                  <c:v>165591</c:v>
                </c:pt>
                <c:pt idx="214">
                  <c:v>258462</c:v>
                </c:pt>
                <c:pt idx="215">
                  <c:v>492116</c:v>
                </c:pt>
                <c:pt idx="216">
                  <c:v>77020</c:v>
                </c:pt>
                <c:pt idx="217">
                  <c:v>94352</c:v>
                </c:pt>
                <c:pt idx="218">
                  <c:v>15378</c:v>
                </c:pt>
                <c:pt idx="219">
                  <c:v>4808</c:v>
                </c:pt>
                <c:pt idx="220">
                  <c:v>2935</c:v>
                </c:pt>
                <c:pt idx="221">
                  <c:v>3304</c:v>
                </c:pt>
                <c:pt idx="222">
                  <c:v>3030</c:v>
                </c:pt>
                <c:pt idx="223">
                  <c:v>7140</c:v>
                </c:pt>
                <c:pt idx="224">
                  <c:v>52160</c:v>
                </c:pt>
                <c:pt idx="225">
                  <c:v>46263</c:v>
                </c:pt>
                <c:pt idx="226">
                  <c:v>113520</c:v>
                </c:pt>
                <c:pt idx="227">
                  <c:v>133285</c:v>
                </c:pt>
                <c:pt idx="228">
                  <c:v>65595</c:v>
                </c:pt>
                <c:pt idx="229">
                  <c:v>56627</c:v>
                </c:pt>
                <c:pt idx="230">
                  <c:v>222669</c:v>
                </c:pt>
                <c:pt idx="231">
                  <c:v>35742</c:v>
                </c:pt>
                <c:pt idx="232">
                  <c:v>30004</c:v>
                </c:pt>
                <c:pt idx="233">
                  <c:v>2157</c:v>
                </c:pt>
                <c:pt idx="234">
                  <c:v>1543</c:v>
                </c:pt>
                <c:pt idx="235">
                  <c:v>1627</c:v>
                </c:pt>
                <c:pt idx="236">
                  <c:v>1757</c:v>
                </c:pt>
                <c:pt idx="237">
                  <c:v>6036</c:v>
                </c:pt>
                <c:pt idx="238">
                  <c:v>4160</c:v>
                </c:pt>
                <c:pt idx="239">
                  <c:v>5359</c:v>
                </c:pt>
                <c:pt idx="240">
                  <c:v>6348</c:v>
                </c:pt>
                <c:pt idx="241">
                  <c:v>8264</c:v>
                </c:pt>
                <c:pt idx="242">
                  <c:v>5979</c:v>
                </c:pt>
                <c:pt idx="243">
                  <c:v>10422</c:v>
                </c:pt>
                <c:pt idx="244">
                  <c:v>428653</c:v>
                </c:pt>
                <c:pt idx="245">
                  <c:v>671310</c:v>
                </c:pt>
                <c:pt idx="246">
                  <c:v>304112</c:v>
                </c:pt>
                <c:pt idx="247">
                  <c:v>34372</c:v>
                </c:pt>
                <c:pt idx="248">
                  <c:v>25737</c:v>
                </c:pt>
                <c:pt idx="249">
                  <c:v>51935</c:v>
                </c:pt>
                <c:pt idx="250">
                  <c:v>18079</c:v>
                </c:pt>
                <c:pt idx="251">
                  <c:v>49670</c:v>
                </c:pt>
                <c:pt idx="252">
                  <c:v>1562493</c:v>
                </c:pt>
                <c:pt idx="253">
                  <c:v>412110</c:v>
                </c:pt>
                <c:pt idx="254">
                  <c:v>473371</c:v>
                </c:pt>
                <c:pt idx="255">
                  <c:v>1499469</c:v>
                </c:pt>
                <c:pt idx="256">
                  <c:v>1390404</c:v>
                </c:pt>
                <c:pt idx="257">
                  <c:v>501174</c:v>
                </c:pt>
                <c:pt idx="258">
                  <c:v>535781</c:v>
                </c:pt>
                <c:pt idx="259">
                  <c:v>159101</c:v>
                </c:pt>
                <c:pt idx="260">
                  <c:v>738230</c:v>
                </c:pt>
                <c:pt idx="261">
                  <c:v>1663561</c:v>
                </c:pt>
                <c:pt idx="262">
                  <c:v>1153495</c:v>
                </c:pt>
                <c:pt idx="263">
                  <c:v>377308</c:v>
                </c:pt>
                <c:pt idx="264">
                  <c:v>59211</c:v>
                </c:pt>
                <c:pt idx="265">
                  <c:v>23034</c:v>
                </c:pt>
                <c:pt idx="266">
                  <c:v>11096</c:v>
                </c:pt>
                <c:pt idx="267">
                  <c:v>18296</c:v>
                </c:pt>
                <c:pt idx="268">
                  <c:v>17659</c:v>
                </c:pt>
                <c:pt idx="269">
                  <c:v>25693</c:v>
                </c:pt>
                <c:pt idx="270">
                  <c:v>24225</c:v>
                </c:pt>
                <c:pt idx="271">
                  <c:v>30025</c:v>
                </c:pt>
                <c:pt idx="272">
                  <c:v>41108</c:v>
                </c:pt>
                <c:pt idx="273">
                  <c:v>76916</c:v>
                </c:pt>
                <c:pt idx="274">
                  <c:v>40527</c:v>
                </c:pt>
                <c:pt idx="275">
                  <c:v>122318</c:v>
                </c:pt>
                <c:pt idx="276">
                  <c:v>294401</c:v>
                </c:pt>
                <c:pt idx="277">
                  <c:v>173758</c:v>
                </c:pt>
                <c:pt idx="278">
                  <c:v>134816</c:v>
                </c:pt>
                <c:pt idx="279">
                  <c:v>73684</c:v>
                </c:pt>
                <c:pt idx="280">
                  <c:v>223516</c:v>
                </c:pt>
                <c:pt idx="281">
                  <c:v>352676</c:v>
                </c:pt>
                <c:pt idx="282">
                  <c:v>164450</c:v>
                </c:pt>
                <c:pt idx="283">
                  <c:v>383885</c:v>
                </c:pt>
                <c:pt idx="284">
                  <c:v>1247985</c:v>
                </c:pt>
                <c:pt idx="285">
                  <c:v>144961</c:v>
                </c:pt>
                <c:pt idx="286">
                  <c:v>23157</c:v>
                </c:pt>
                <c:pt idx="287">
                  <c:v>36437</c:v>
                </c:pt>
                <c:pt idx="288">
                  <c:v>8124</c:v>
                </c:pt>
                <c:pt idx="289">
                  <c:v>6249</c:v>
                </c:pt>
                <c:pt idx="290">
                  <c:v>14532</c:v>
                </c:pt>
                <c:pt idx="291">
                  <c:v>14265</c:v>
                </c:pt>
                <c:pt idx="292">
                  <c:v>33860</c:v>
                </c:pt>
                <c:pt idx="293">
                  <c:v>20177</c:v>
                </c:pt>
                <c:pt idx="294">
                  <c:v>17763</c:v>
                </c:pt>
                <c:pt idx="295">
                  <c:v>26835</c:v>
                </c:pt>
                <c:pt idx="296">
                  <c:v>32006</c:v>
                </c:pt>
                <c:pt idx="297">
                  <c:v>107396</c:v>
                </c:pt>
                <c:pt idx="298">
                  <c:v>81893</c:v>
                </c:pt>
                <c:pt idx="299">
                  <c:v>53540</c:v>
                </c:pt>
                <c:pt idx="300">
                  <c:v>59603</c:v>
                </c:pt>
                <c:pt idx="301">
                  <c:v>72690</c:v>
                </c:pt>
                <c:pt idx="302">
                  <c:v>95823</c:v>
                </c:pt>
                <c:pt idx="303">
                  <c:v>146588</c:v>
                </c:pt>
                <c:pt idx="304">
                  <c:v>101591</c:v>
                </c:pt>
                <c:pt idx="305">
                  <c:v>57272</c:v>
                </c:pt>
                <c:pt idx="306">
                  <c:v>24058</c:v>
                </c:pt>
                <c:pt idx="307">
                  <c:v>78877</c:v>
                </c:pt>
                <c:pt idx="308">
                  <c:v>183937</c:v>
                </c:pt>
                <c:pt idx="309">
                  <c:v>335048</c:v>
                </c:pt>
                <c:pt idx="310">
                  <c:v>795011</c:v>
                </c:pt>
                <c:pt idx="311">
                  <c:v>646937</c:v>
                </c:pt>
                <c:pt idx="312">
                  <c:v>223911</c:v>
                </c:pt>
                <c:pt idx="313">
                  <c:v>214682</c:v>
                </c:pt>
                <c:pt idx="314">
                  <c:v>97538</c:v>
                </c:pt>
                <c:pt idx="315">
                  <c:v>23712</c:v>
                </c:pt>
                <c:pt idx="316">
                  <c:v>16797</c:v>
                </c:pt>
                <c:pt idx="317">
                  <c:v>6337</c:v>
                </c:pt>
                <c:pt idx="318">
                  <c:v>21642</c:v>
                </c:pt>
                <c:pt idx="319">
                  <c:v>9711</c:v>
                </c:pt>
                <c:pt idx="320">
                  <c:v>9311</c:v>
                </c:pt>
                <c:pt idx="321">
                  <c:v>4393</c:v>
                </c:pt>
                <c:pt idx="322">
                  <c:v>22086</c:v>
                </c:pt>
                <c:pt idx="323">
                  <c:v>11373</c:v>
                </c:pt>
                <c:pt idx="324">
                  <c:v>17305</c:v>
                </c:pt>
                <c:pt idx="325">
                  <c:v>20447</c:v>
                </c:pt>
                <c:pt idx="326">
                  <c:v>13625</c:v>
                </c:pt>
                <c:pt idx="327">
                  <c:v>50874</c:v>
                </c:pt>
                <c:pt idx="328">
                  <c:v>175606</c:v>
                </c:pt>
                <c:pt idx="329">
                  <c:v>188811</c:v>
                </c:pt>
                <c:pt idx="330">
                  <c:v>215725</c:v>
                </c:pt>
                <c:pt idx="331">
                  <c:v>153598</c:v>
                </c:pt>
                <c:pt idx="332">
                  <c:v>78104</c:v>
                </c:pt>
                <c:pt idx="333">
                  <c:v>5894</c:v>
                </c:pt>
                <c:pt idx="334">
                  <c:v>16683</c:v>
                </c:pt>
                <c:pt idx="335">
                  <c:v>73867</c:v>
                </c:pt>
                <c:pt idx="336">
                  <c:v>177362</c:v>
                </c:pt>
                <c:pt idx="337">
                  <c:v>290784</c:v>
                </c:pt>
                <c:pt idx="338">
                  <c:v>268311</c:v>
                </c:pt>
                <c:pt idx="339">
                  <c:v>222222</c:v>
                </c:pt>
                <c:pt idx="340">
                  <c:v>298724</c:v>
                </c:pt>
                <c:pt idx="341">
                  <c:v>227572</c:v>
                </c:pt>
                <c:pt idx="342">
                  <c:v>172643</c:v>
                </c:pt>
                <c:pt idx="343">
                  <c:v>94410</c:v>
                </c:pt>
                <c:pt idx="344">
                  <c:v>41593</c:v>
                </c:pt>
                <c:pt idx="345">
                  <c:v>45262</c:v>
                </c:pt>
                <c:pt idx="346">
                  <c:v>156490</c:v>
                </c:pt>
                <c:pt idx="347">
                  <c:v>97805</c:v>
                </c:pt>
                <c:pt idx="348">
                  <c:v>102790</c:v>
                </c:pt>
                <c:pt idx="349">
                  <c:v>59775</c:v>
                </c:pt>
                <c:pt idx="350">
                  <c:v>58817</c:v>
                </c:pt>
                <c:pt idx="351">
                  <c:v>113805</c:v>
                </c:pt>
                <c:pt idx="352">
                  <c:v>51628</c:v>
                </c:pt>
                <c:pt idx="353">
                  <c:v>14694</c:v>
                </c:pt>
                <c:pt idx="354">
                  <c:v>79167</c:v>
                </c:pt>
                <c:pt idx="355">
                  <c:v>108372</c:v>
                </c:pt>
                <c:pt idx="356">
                  <c:v>15783</c:v>
                </c:pt>
                <c:pt idx="357">
                  <c:v>3513</c:v>
                </c:pt>
                <c:pt idx="358">
                  <c:v>8445</c:v>
                </c:pt>
                <c:pt idx="359">
                  <c:v>47085</c:v>
                </c:pt>
                <c:pt idx="360">
                  <c:v>403026</c:v>
                </c:pt>
                <c:pt idx="361">
                  <c:v>251471</c:v>
                </c:pt>
                <c:pt idx="362">
                  <c:v>444438</c:v>
                </c:pt>
                <c:pt idx="363">
                  <c:v>293212</c:v>
                </c:pt>
                <c:pt idx="364">
                  <c:v>12020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45048623"/>
        <c:axId val="1845051535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Revenu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General</c:formatCode>
                <c:ptCount val="365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dateAx>
        <c:axId val="-955199408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 val="autoZero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Revenue (in USD)</a:t>
                </a:r>
                <a:endParaRPr lang="en-IN" b="1"/>
              </a:p>
            </c:rich>
          </c:tx>
          <c:layout>
            <c:manualLayout>
              <c:xMode val="edge"/>
              <c:yMode val="edge"/>
              <c:x val="1.7067833942136307E-2"/>
              <c:y val="0.214663826403764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1845051535"/>
        <c:scaling>
          <c:orientation val="minMax"/>
          <c:max val="25000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 i="0" kern="1200" baseline="0" dirty="0" err="1">
                    <a:solidFill>
                      <a:srgbClr val="000000"/>
                    </a:solidFill>
                    <a:effectLst/>
                  </a:rPr>
                  <a:t>Youtube</a:t>
                </a:r>
                <a:r>
                  <a:rPr lang="en-GB" sz="1000" b="1" i="0" kern="1200" baseline="0" dirty="0">
                    <a:solidFill>
                      <a:srgbClr val="000000"/>
                    </a:solidFill>
                    <a:effectLst/>
                  </a:rPr>
                  <a:t> Impressions (‘000</a:t>
                </a:r>
                <a:r>
                  <a:rPr lang="en-GB" sz="1000" b="0" i="0" kern="1200" baseline="0" dirty="0">
                    <a:solidFill>
                      <a:srgbClr val="000000"/>
                    </a:solidFill>
                    <a:effectLst/>
                  </a:rPr>
                  <a:t>)</a:t>
                </a:r>
                <a:endParaRPr lang="en-IN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5048623"/>
        <c:crosses val="max"/>
        <c:crossBetween val="between"/>
        <c:dispUnits>
          <c:builtInUnit val="thousands"/>
        </c:dispUnits>
      </c:valAx>
      <c:dateAx>
        <c:axId val="1845048623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45051535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677907955522532"/>
          <c:y val="0.89640992560702837"/>
          <c:w val="0.26644184088954936"/>
          <c:h val="6.44093085870944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j-ea"/>
                <a:cs typeface="+mj-cs"/>
              </a:rPr>
              <a:t>Non-Social Display</a:t>
            </a:r>
            <a:endParaRPr lang="en-IN" sz="1400" dirty="0">
              <a:solidFill>
                <a:schemeClr val="tx1"/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647250685203459E-2"/>
          <c:y val="0.1110100897260959"/>
          <c:w val="0.85009385801103066"/>
          <c:h val="0.589940247672507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n-Social Display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#,##0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217722</c:v>
                </c:pt>
                <c:pt idx="169">
                  <c:v>23536</c:v>
                </c:pt>
                <c:pt idx="170">
                  <c:v>27006</c:v>
                </c:pt>
                <c:pt idx="171">
                  <c:v>22618</c:v>
                </c:pt>
                <c:pt idx="172">
                  <c:v>24879</c:v>
                </c:pt>
                <c:pt idx="173">
                  <c:v>34179</c:v>
                </c:pt>
                <c:pt idx="174">
                  <c:v>45820</c:v>
                </c:pt>
                <c:pt idx="175">
                  <c:v>45551</c:v>
                </c:pt>
                <c:pt idx="176">
                  <c:v>62987</c:v>
                </c:pt>
                <c:pt idx="177">
                  <c:v>73894</c:v>
                </c:pt>
                <c:pt idx="178">
                  <c:v>65850</c:v>
                </c:pt>
                <c:pt idx="179">
                  <c:v>52024</c:v>
                </c:pt>
                <c:pt idx="180">
                  <c:v>56153</c:v>
                </c:pt>
                <c:pt idx="181">
                  <c:v>54502</c:v>
                </c:pt>
                <c:pt idx="182">
                  <c:v>58025</c:v>
                </c:pt>
                <c:pt idx="183">
                  <c:v>82640</c:v>
                </c:pt>
                <c:pt idx="184">
                  <c:v>97511</c:v>
                </c:pt>
                <c:pt idx="185">
                  <c:v>115906</c:v>
                </c:pt>
                <c:pt idx="186">
                  <c:v>102416</c:v>
                </c:pt>
                <c:pt idx="187">
                  <c:v>52580</c:v>
                </c:pt>
                <c:pt idx="188">
                  <c:v>91886</c:v>
                </c:pt>
                <c:pt idx="189">
                  <c:v>106578</c:v>
                </c:pt>
                <c:pt idx="190">
                  <c:v>168133</c:v>
                </c:pt>
                <c:pt idx="191">
                  <c:v>277415</c:v>
                </c:pt>
                <c:pt idx="192">
                  <c:v>149090</c:v>
                </c:pt>
                <c:pt idx="193">
                  <c:v>60772</c:v>
                </c:pt>
                <c:pt idx="194">
                  <c:v>270717</c:v>
                </c:pt>
                <c:pt idx="195">
                  <c:v>140923</c:v>
                </c:pt>
                <c:pt idx="196">
                  <c:v>244816</c:v>
                </c:pt>
                <c:pt idx="197">
                  <c:v>407032</c:v>
                </c:pt>
                <c:pt idx="198">
                  <c:v>272650</c:v>
                </c:pt>
                <c:pt idx="199">
                  <c:v>268178</c:v>
                </c:pt>
                <c:pt idx="200">
                  <c:v>67682</c:v>
                </c:pt>
                <c:pt idx="201">
                  <c:v>213628</c:v>
                </c:pt>
                <c:pt idx="202">
                  <c:v>118769</c:v>
                </c:pt>
                <c:pt idx="203">
                  <c:v>213111</c:v>
                </c:pt>
                <c:pt idx="204">
                  <c:v>295756</c:v>
                </c:pt>
                <c:pt idx="205">
                  <c:v>115210</c:v>
                </c:pt>
                <c:pt idx="206">
                  <c:v>184004</c:v>
                </c:pt>
                <c:pt idx="207">
                  <c:v>129059</c:v>
                </c:pt>
                <c:pt idx="208">
                  <c:v>125901</c:v>
                </c:pt>
                <c:pt idx="209">
                  <c:v>231096</c:v>
                </c:pt>
                <c:pt idx="210">
                  <c:v>119201</c:v>
                </c:pt>
                <c:pt idx="211">
                  <c:v>290452</c:v>
                </c:pt>
                <c:pt idx="212">
                  <c:v>175736</c:v>
                </c:pt>
                <c:pt idx="213">
                  <c:v>339533</c:v>
                </c:pt>
                <c:pt idx="214">
                  <c:v>282539</c:v>
                </c:pt>
                <c:pt idx="215">
                  <c:v>470442</c:v>
                </c:pt>
                <c:pt idx="216">
                  <c:v>289693</c:v>
                </c:pt>
                <c:pt idx="217">
                  <c:v>305561</c:v>
                </c:pt>
                <c:pt idx="218">
                  <c:v>337941</c:v>
                </c:pt>
                <c:pt idx="219">
                  <c:v>243423</c:v>
                </c:pt>
                <c:pt idx="220">
                  <c:v>340764</c:v>
                </c:pt>
                <c:pt idx="221">
                  <c:v>102746</c:v>
                </c:pt>
                <c:pt idx="222">
                  <c:v>47331</c:v>
                </c:pt>
                <c:pt idx="223">
                  <c:v>49338</c:v>
                </c:pt>
                <c:pt idx="224">
                  <c:v>216759</c:v>
                </c:pt>
                <c:pt idx="225">
                  <c:v>230902</c:v>
                </c:pt>
                <c:pt idx="226">
                  <c:v>179116</c:v>
                </c:pt>
                <c:pt idx="227">
                  <c:v>217195</c:v>
                </c:pt>
                <c:pt idx="228">
                  <c:v>205900</c:v>
                </c:pt>
                <c:pt idx="229">
                  <c:v>219977</c:v>
                </c:pt>
                <c:pt idx="230">
                  <c:v>219758</c:v>
                </c:pt>
                <c:pt idx="231">
                  <c:v>501036</c:v>
                </c:pt>
                <c:pt idx="232">
                  <c:v>249354</c:v>
                </c:pt>
                <c:pt idx="233">
                  <c:v>234091</c:v>
                </c:pt>
                <c:pt idx="234">
                  <c:v>258932</c:v>
                </c:pt>
                <c:pt idx="235">
                  <c:v>115626</c:v>
                </c:pt>
                <c:pt idx="236">
                  <c:v>293149</c:v>
                </c:pt>
                <c:pt idx="237">
                  <c:v>287420</c:v>
                </c:pt>
                <c:pt idx="238">
                  <c:v>160219</c:v>
                </c:pt>
                <c:pt idx="239">
                  <c:v>116581</c:v>
                </c:pt>
                <c:pt idx="240">
                  <c:v>188423</c:v>
                </c:pt>
                <c:pt idx="241">
                  <c:v>122911</c:v>
                </c:pt>
                <c:pt idx="242">
                  <c:v>236936</c:v>
                </c:pt>
                <c:pt idx="243">
                  <c:v>180111</c:v>
                </c:pt>
                <c:pt idx="244">
                  <c:v>192095</c:v>
                </c:pt>
                <c:pt idx="245">
                  <c:v>326155</c:v>
                </c:pt>
                <c:pt idx="246">
                  <c:v>229439</c:v>
                </c:pt>
                <c:pt idx="247">
                  <c:v>221533</c:v>
                </c:pt>
                <c:pt idx="248">
                  <c:v>119935</c:v>
                </c:pt>
                <c:pt idx="249">
                  <c:v>117983</c:v>
                </c:pt>
                <c:pt idx="250">
                  <c:v>107867</c:v>
                </c:pt>
                <c:pt idx="251">
                  <c:v>111298</c:v>
                </c:pt>
                <c:pt idx="252">
                  <c:v>173364</c:v>
                </c:pt>
                <c:pt idx="253">
                  <c:v>89990</c:v>
                </c:pt>
                <c:pt idx="254">
                  <c:v>124821</c:v>
                </c:pt>
                <c:pt idx="255">
                  <c:v>219278</c:v>
                </c:pt>
                <c:pt idx="256">
                  <c:v>87376</c:v>
                </c:pt>
                <c:pt idx="257">
                  <c:v>159813</c:v>
                </c:pt>
                <c:pt idx="258">
                  <c:v>109869</c:v>
                </c:pt>
                <c:pt idx="259">
                  <c:v>125475</c:v>
                </c:pt>
                <c:pt idx="260">
                  <c:v>337973</c:v>
                </c:pt>
                <c:pt idx="261">
                  <c:v>178562</c:v>
                </c:pt>
                <c:pt idx="262">
                  <c:v>161733</c:v>
                </c:pt>
                <c:pt idx="263">
                  <c:v>118387</c:v>
                </c:pt>
                <c:pt idx="264">
                  <c:v>224642</c:v>
                </c:pt>
                <c:pt idx="265">
                  <c:v>119790</c:v>
                </c:pt>
                <c:pt idx="266">
                  <c:v>129261</c:v>
                </c:pt>
                <c:pt idx="267">
                  <c:v>214226</c:v>
                </c:pt>
                <c:pt idx="268">
                  <c:v>184307</c:v>
                </c:pt>
                <c:pt idx="269">
                  <c:v>114526</c:v>
                </c:pt>
                <c:pt idx="270">
                  <c:v>107132</c:v>
                </c:pt>
                <c:pt idx="271">
                  <c:v>235077</c:v>
                </c:pt>
                <c:pt idx="272">
                  <c:v>121899</c:v>
                </c:pt>
                <c:pt idx="273">
                  <c:v>189421</c:v>
                </c:pt>
                <c:pt idx="274">
                  <c:v>92662</c:v>
                </c:pt>
                <c:pt idx="275">
                  <c:v>139533</c:v>
                </c:pt>
                <c:pt idx="276">
                  <c:v>107269</c:v>
                </c:pt>
                <c:pt idx="277">
                  <c:v>104644</c:v>
                </c:pt>
                <c:pt idx="278">
                  <c:v>101978</c:v>
                </c:pt>
                <c:pt idx="279">
                  <c:v>122803</c:v>
                </c:pt>
                <c:pt idx="280">
                  <c:v>124801</c:v>
                </c:pt>
                <c:pt idx="281">
                  <c:v>315750</c:v>
                </c:pt>
                <c:pt idx="282">
                  <c:v>188056</c:v>
                </c:pt>
                <c:pt idx="283">
                  <c:v>135240</c:v>
                </c:pt>
                <c:pt idx="284">
                  <c:v>75839</c:v>
                </c:pt>
                <c:pt idx="285">
                  <c:v>199669</c:v>
                </c:pt>
                <c:pt idx="286">
                  <c:v>162417</c:v>
                </c:pt>
                <c:pt idx="287">
                  <c:v>147215</c:v>
                </c:pt>
                <c:pt idx="288">
                  <c:v>232074</c:v>
                </c:pt>
                <c:pt idx="289">
                  <c:v>233104</c:v>
                </c:pt>
                <c:pt idx="290">
                  <c:v>122416</c:v>
                </c:pt>
                <c:pt idx="291">
                  <c:v>112087</c:v>
                </c:pt>
                <c:pt idx="292">
                  <c:v>147198</c:v>
                </c:pt>
                <c:pt idx="293">
                  <c:v>130142</c:v>
                </c:pt>
                <c:pt idx="294">
                  <c:v>99713</c:v>
                </c:pt>
                <c:pt idx="295">
                  <c:v>215957</c:v>
                </c:pt>
                <c:pt idx="296">
                  <c:v>137478</c:v>
                </c:pt>
                <c:pt idx="297">
                  <c:v>117382</c:v>
                </c:pt>
                <c:pt idx="298">
                  <c:v>93511</c:v>
                </c:pt>
                <c:pt idx="299">
                  <c:v>154679</c:v>
                </c:pt>
                <c:pt idx="300">
                  <c:v>71726</c:v>
                </c:pt>
                <c:pt idx="301">
                  <c:v>89110</c:v>
                </c:pt>
                <c:pt idx="302">
                  <c:v>146525</c:v>
                </c:pt>
                <c:pt idx="303">
                  <c:v>103692</c:v>
                </c:pt>
                <c:pt idx="304">
                  <c:v>97999</c:v>
                </c:pt>
                <c:pt idx="305">
                  <c:v>71997</c:v>
                </c:pt>
                <c:pt idx="306">
                  <c:v>291329</c:v>
                </c:pt>
                <c:pt idx="307">
                  <c:v>147604</c:v>
                </c:pt>
                <c:pt idx="308">
                  <c:v>218558</c:v>
                </c:pt>
                <c:pt idx="309">
                  <c:v>212419</c:v>
                </c:pt>
                <c:pt idx="310">
                  <c:v>242217</c:v>
                </c:pt>
                <c:pt idx="311">
                  <c:v>214704</c:v>
                </c:pt>
                <c:pt idx="312">
                  <c:v>168254</c:v>
                </c:pt>
                <c:pt idx="313">
                  <c:v>78802</c:v>
                </c:pt>
                <c:pt idx="314">
                  <c:v>194763</c:v>
                </c:pt>
                <c:pt idx="315">
                  <c:v>169504</c:v>
                </c:pt>
                <c:pt idx="316">
                  <c:v>195857</c:v>
                </c:pt>
                <c:pt idx="317">
                  <c:v>139324</c:v>
                </c:pt>
                <c:pt idx="318">
                  <c:v>147617</c:v>
                </c:pt>
                <c:pt idx="319">
                  <c:v>159310</c:v>
                </c:pt>
                <c:pt idx="320">
                  <c:v>138890</c:v>
                </c:pt>
                <c:pt idx="321">
                  <c:v>159484</c:v>
                </c:pt>
                <c:pt idx="322">
                  <c:v>141722</c:v>
                </c:pt>
                <c:pt idx="323">
                  <c:v>107322</c:v>
                </c:pt>
                <c:pt idx="324">
                  <c:v>223686</c:v>
                </c:pt>
                <c:pt idx="325">
                  <c:v>72669</c:v>
                </c:pt>
                <c:pt idx="326">
                  <c:v>98941</c:v>
                </c:pt>
                <c:pt idx="327">
                  <c:v>86720</c:v>
                </c:pt>
                <c:pt idx="328">
                  <c:v>64219</c:v>
                </c:pt>
                <c:pt idx="329">
                  <c:v>107343</c:v>
                </c:pt>
                <c:pt idx="330">
                  <c:v>102598</c:v>
                </c:pt>
                <c:pt idx="331">
                  <c:v>543304</c:v>
                </c:pt>
                <c:pt idx="332">
                  <c:v>93537</c:v>
                </c:pt>
                <c:pt idx="333">
                  <c:v>116949</c:v>
                </c:pt>
                <c:pt idx="334">
                  <c:v>159005</c:v>
                </c:pt>
                <c:pt idx="335">
                  <c:v>161392</c:v>
                </c:pt>
                <c:pt idx="336">
                  <c:v>165256</c:v>
                </c:pt>
                <c:pt idx="337">
                  <c:v>421768</c:v>
                </c:pt>
                <c:pt idx="338">
                  <c:v>228600</c:v>
                </c:pt>
                <c:pt idx="339">
                  <c:v>260276</c:v>
                </c:pt>
                <c:pt idx="340">
                  <c:v>170374</c:v>
                </c:pt>
                <c:pt idx="341">
                  <c:v>206968</c:v>
                </c:pt>
                <c:pt idx="342">
                  <c:v>199848</c:v>
                </c:pt>
                <c:pt idx="343">
                  <c:v>188177</c:v>
                </c:pt>
                <c:pt idx="344">
                  <c:v>252682</c:v>
                </c:pt>
                <c:pt idx="345">
                  <c:v>185426</c:v>
                </c:pt>
                <c:pt idx="346">
                  <c:v>255277</c:v>
                </c:pt>
                <c:pt idx="347">
                  <c:v>184536</c:v>
                </c:pt>
                <c:pt idx="348">
                  <c:v>162002</c:v>
                </c:pt>
                <c:pt idx="349">
                  <c:v>175881</c:v>
                </c:pt>
                <c:pt idx="350">
                  <c:v>183496</c:v>
                </c:pt>
                <c:pt idx="351">
                  <c:v>160402</c:v>
                </c:pt>
                <c:pt idx="352">
                  <c:v>316953</c:v>
                </c:pt>
                <c:pt idx="353">
                  <c:v>155292</c:v>
                </c:pt>
                <c:pt idx="354">
                  <c:v>293502</c:v>
                </c:pt>
                <c:pt idx="355">
                  <c:v>191798</c:v>
                </c:pt>
                <c:pt idx="356">
                  <c:v>143466</c:v>
                </c:pt>
                <c:pt idx="357">
                  <c:v>172298</c:v>
                </c:pt>
                <c:pt idx="358">
                  <c:v>206164</c:v>
                </c:pt>
                <c:pt idx="359">
                  <c:v>378157</c:v>
                </c:pt>
                <c:pt idx="360">
                  <c:v>192597</c:v>
                </c:pt>
                <c:pt idx="361">
                  <c:v>245047</c:v>
                </c:pt>
                <c:pt idx="362">
                  <c:v>219056</c:v>
                </c:pt>
                <c:pt idx="363">
                  <c:v>193839</c:v>
                </c:pt>
                <c:pt idx="364">
                  <c:v>235261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45048623"/>
        <c:axId val="1845051535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Revenu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General</c:formatCode>
                <c:ptCount val="365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dateAx>
        <c:axId val="-955199408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 val="autoZero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Revenue (in USD)</a:t>
                </a:r>
                <a:endParaRPr lang="en-IN" b="1"/>
              </a:p>
            </c:rich>
          </c:tx>
          <c:layout>
            <c:manualLayout>
              <c:xMode val="edge"/>
              <c:yMode val="edge"/>
              <c:x val="1.7067833942136307E-2"/>
              <c:y val="0.214663826403764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1845051535"/>
        <c:scaling>
          <c:orientation val="minMax"/>
          <c:max val="25000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 i="0" kern="1200" baseline="0" dirty="0">
                    <a:solidFill>
                      <a:srgbClr val="000000"/>
                    </a:solidFill>
                    <a:effectLst/>
                  </a:rPr>
                  <a:t>Non-Social Display Impressions (‘000</a:t>
                </a:r>
                <a:r>
                  <a:rPr lang="en-GB" sz="1000" b="0" i="0" kern="1200" baseline="0" dirty="0">
                    <a:solidFill>
                      <a:srgbClr val="000000"/>
                    </a:solidFill>
                    <a:effectLst/>
                  </a:rPr>
                  <a:t>)</a:t>
                </a:r>
                <a:endParaRPr lang="en-IN" sz="10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5048623"/>
        <c:crosses val="max"/>
        <c:crossBetween val="between"/>
        <c:dispUnits>
          <c:builtInUnit val="thousands"/>
        </c:dispUnits>
      </c:valAx>
      <c:dateAx>
        <c:axId val="1845048623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45051535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677907955522532"/>
          <c:y val="0.89640992560702837"/>
          <c:w val="0.26644184088954936"/>
          <c:h val="6.44093085870944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j-ea"/>
                <a:cs typeface="+mj-cs"/>
              </a:rPr>
              <a:t>Search Impressions(Google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647250685203459E-2"/>
          <c:y val="0.1110100897260959"/>
          <c:w val="0.85009385801103066"/>
          <c:h val="0.589940247672507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arch Impressions(Google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#,##0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109</c:v>
                </c:pt>
                <c:pt idx="107">
                  <c:v>70</c:v>
                </c:pt>
                <c:pt idx="108">
                  <c:v>613</c:v>
                </c:pt>
                <c:pt idx="109">
                  <c:v>533</c:v>
                </c:pt>
                <c:pt idx="110">
                  <c:v>709</c:v>
                </c:pt>
                <c:pt idx="111">
                  <c:v>674</c:v>
                </c:pt>
                <c:pt idx="112">
                  <c:v>631</c:v>
                </c:pt>
                <c:pt idx="113">
                  <c:v>495</c:v>
                </c:pt>
                <c:pt idx="114">
                  <c:v>859</c:v>
                </c:pt>
                <c:pt idx="115">
                  <c:v>4349</c:v>
                </c:pt>
                <c:pt idx="116">
                  <c:v>4728</c:v>
                </c:pt>
                <c:pt idx="117">
                  <c:v>2700</c:v>
                </c:pt>
                <c:pt idx="118">
                  <c:v>2168</c:v>
                </c:pt>
                <c:pt idx="119">
                  <c:v>2625</c:v>
                </c:pt>
                <c:pt idx="120">
                  <c:v>2447</c:v>
                </c:pt>
                <c:pt idx="121">
                  <c:v>2812</c:v>
                </c:pt>
                <c:pt idx="122">
                  <c:v>3376</c:v>
                </c:pt>
                <c:pt idx="123">
                  <c:v>1631</c:v>
                </c:pt>
                <c:pt idx="124">
                  <c:v>1492</c:v>
                </c:pt>
                <c:pt idx="125">
                  <c:v>1626</c:v>
                </c:pt>
                <c:pt idx="126">
                  <c:v>1469</c:v>
                </c:pt>
                <c:pt idx="127">
                  <c:v>1708</c:v>
                </c:pt>
                <c:pt idx="128">
                  <c:v>1876</c:v>
                </c:pt>
                <c:pt idx="129">
                  <c:v>2117</c:v>
                </c:pt>
                <c:pt idx="130">
                  <c:v>1117</c:v>
                </c:pt>
                <c:pt idx="131">
                  <c:v>1451</c:v>
                </c:pt>
                <c:pt idx="132">
                  <c:v>1132</c:v>
                </c:pt>
                <c:pt idx="133">
                  <c:v>1621</c:v>
                </c:pt>
                <c:pt idx="134">
                  <c:v>1477</c:v>
                </c:pt>
                <c:pt idx="135">
                  <c:v>1104</c:v>
                </c:pt>
                <c:pt idx="136">
                  <c:v>1085</c:v>
                </c:pt>
                <c:pt idx="137">
                  <c:v>667</c:v>
                </c:pt>
                <c:pt idx="138">
                  <c:v>772</c:v>
                </c:pt>
                <c:pt idx="139">
                  <c:v>554</c:v>
                </c:pt>
                <c:pt idx="140">
                  <c:v>1464</c:v>
                </c:pt>
                <c:pt idx="141">
                  <c:v>1543</c:v>
                </c:pt>
                <c:pt idx="142">
                  <c:v>1737</c:v>
                </c:pt>
                <c:pt idx="143">
                  <c:v>2032</c:v>
                </c:pt>
                <c:pt idx="144">
                  <c:v>1141</c:v>
                </c:pt>
                <c:pt idx="145">
                  <c:v>1139</c:v>
                </c:pt>
                <c:pt idx="146">
                  <c:v>1353</c:v>
                </c:pt>
                <c:pt idx="147">
                  <c:v>1401</c:v>
                </c:pt>
                <c:pt idx="148">
                  <c:v>897</c:v>
                </c:pt>
                <c:pt idx="149">
                  <c:v>1079</c:v>
                </c:pt>
                <c:pt idx="150">
                  <c:v>1038</c:v>
                </c:pt>
                <c:pt idx="151">
                  <c:v>1035</c:v>
                </c:pt>
                <c:pt idx="152">
                  <c:v>1212</c:v>
                </c:pt>
                <c:pt idx="153">
                  <c:v>1310</c:v>
                </c:pt>
                <c:pt idx="154">
                  <c:v>1121</c:v>
                </c:pt>
                <c:pt idx="155">
                  <c:v>846</c:v>
                </c:pt>
                <c:pt idx="156">
                  <c:v>853</c:v>
                </c:pt>
                <c:pt idx="157">
                  <c:v>751</c:v>
                </c:pt>
                <c:pt idx="158">
                  <c:v>876</c:v>
                </c:pt>
                <c:pt idx="159">
                  <c:v>1133</c:v>
                </c:pt>
                <c:pt idx="160">
                  <c:v>1092</c:v>
                </c:pt>
                <c:pt idx="161">
                  <c:v>1072</c:v>
                </c:pt>
                <c:pt idx="162">
                  <c:v>1159</c:v>
                </c:pt>
                <c:pt idx="163">
                  <c:v>1119</c:v>
                </c:pt>
                <c:pt idx="164">
                  <c:v>707</c:v>
                </c:pt>
                <c:pt idx="165">
                  <c:v>790</c:v>
                </c:pt>
                <c:pt idx="166">
                  <c:v>459</c:v>
                </c:pt>
                <c:pt idx="167">
                  <c:v>675</c:v>
                </c:pt>
                <c:pt idx="168">
                  <c:v>390</c:v>
                </c:pt>
                <c:pt idx="169">
                  <c:v>358</c:v>
                </c:pt>
                <c:pt idx="170">
                  <c:v>425</c:v>
                </c:pt>
                <c:pt idx="171">
                  <c:v>623</c:v>
                </c:pt>
                <c:pt idx="172">
                  <c:v>484</c:v>
                </c:pt>
                <c:pt idx="173">
                  <c:v>629</c:v>
                </c:pt>
                <c:pt idx="174">
                  <c:v>594</c:v>
                </c:pt>
                <c:pt idx="175">
                  <c:v>703</c:v>
                </c:pt>
                <c:pt idx="176">
                  <c:v>452</c:v>
                </c:pt>
                <c:pt idx="177">
                  <c:v>793</c:v>
                </c:pt>
                <c:pt idx="178">
                  <c:v>602</c:v>
                </c:pt>
                <c:pt idx="179">
                  <c:v>564</c:v>
                </c:pt>
                <c:pt idx="180">
                  <c:v>628</c:v>
                </c:pt>
                <c:pt idx="181">
                  <c:v>813</c:v>
                </c:pt>
                <c:pt idx="182">
                  <c:v>550</c:v>
                </c:pt>
                <c:pt idx="183">
                  <c:v>546</c:v>
                </c:pt>
                <c:pt idx="184">
                  <c:v>554</c:v>
                </c:pt>
                <c:pt idx="185">
                  <c:v>999</c:v>
                </c:pt>
                <c:pt idx="186">
                  <c:v>976</c:v>
                </c:pt>
                <c:pt idx="187">
                  <c:v>1067</c:v>
                </c:pt>
                <c:pt idx="188">
                  <c:v>808</c:v>
                </c:pt>
                <c:pt idx="189">
                  <c:v>855</c:v>
                </c:pt>
                <c:pt idx="190">
                  <c:v>970</c:v>
                </c:pt>
                <c:pt idx="191">
                  <c:v>786</c:v>
                </c:pt>
                <c:pt idx="192">
                  <c:v>895</c:v>
                </c:pt>
                <c:pt idx="193">
                  <c:v>1019</c:v>
                </c:pt>
                <c:pt idx="194">
                  <c:v>871</c:v>
                </c:pt>
                <c:pt idx="195">
                  <c:v>832</c:v>
                </c:pt>
                <c:pt idx="196">
                  <c:v>858</c:v>
                </c:pt>
                <c:pt idx="197">
                  <c:v>1035</c:v>
                </c:pt>
                <c:pt idx="198">
                  <c:v>1463</c:v>
                </c:pt>
                <c:pt idx="199">
                  <c:v>1526</c:v>
                </c:pt>
                <c:pt idx="200">
                  <c:v>1070</c:v>
                </c:pt>
                <c:pt idx="201">
                  <c:v>816</c:v>
                </c:pt>
                <c:pt idx="202">
                  <c:v>743</c:v>
                </c:pt>
                <c:pt idx="203">
                  <c:v>745</c:v>
                </c:pt>
                <c:pt idx="204">
                  <c:v>754</c:v>
                </c:pt>
                <c:pt idx="205">
                  <c:v>889</c:v>
                </c:pt>
                <c:pt idx="206">
                  <c:v>1015</c:v>
                </c:pt>
                <c:pt idx="207">
                  <c:v>1194</c:v>
                </c:pt>
                <c:pt idx="208">
                  <c:v>997</c:v>
                </c:pt>
                <c:pt idx="209">
                  <c:v>988</c:v>
                </c:pt>
                <c:pt idx="210">
                  <c:v>1084</c:v>
                </c:pt>
                <c:pt idx="211">
                  <c:v>895</c:v>
                </c:pt>
                <c:pt idx="212">
                  <c:v>1148</c:v>
                </c:pt>
                <c:pt idx="213">
                  <c:v>826</c:v>
                </c:pt>
                <c:pt idx="214">
                  <c:v>788</c:v>
                </c:pt>
                <c:pt idx="215">
                  <c:v>1085</c:v>
                </c:pt>
                <c:pt idx="216">
                  <c:v>1062</c:v>
                </c:pt>
                <c:pt idx="217">
                  <c:v>926</c:v>
                </c:pt>
                <c:pt idx="218">
                  <c:v>1010</c:v>
                </c:pt>
                <c:pt idx="219">
                  <c:v>1081</c:v>
                </c:pt>
                <c:pt idx="220">
                  <c:v>1287</c:v>
                </c:pt>
                <c:pt idx="221">
                  <c:v>1421</c:v>
                </c:pt>
                <c:pt idx="222">
                  <c:v>1284</c:v>
                </c:pt>
                <c:pt idx="223">
                  <c:v>1075</c:v>
                </c:pt>
                <c:pt idx="224">
                  <c:v>1196</c:v>
                </c:pt>
                <c:pt idx="225">
                  <c:v>1603</c:v>
                </c:pt>
                <c:pt idx="226">
                  <c:v>1598</c:v>
                </c:pt>
                <c:pt idx="227">
                  <c:v>1411</c:v>
                </c:pt>
                <c:pt idx="228">
                  <c:v>923</c:v>
                </c:pt>
                <c:pt idx="229">
                  <c:v>978</c:v>
                </c:pt>
                <c:pt idx="230">
                  <c:v>813</c:v>
                </c:pt>
                <c:pt idx="231">
                  <c:v>680</c:v>
                </c:pt>
                <c:pt idx="232">
                  <c:v>718</c:v>
                </c:pt>
                <c:pt idx="233">
                  <c:v>954</c:v>
                </c:pt>
                <c:pt idx="234">
                  <c:v>792</c:v>
                </c:pt>
                <c:pt idx="235">
                  <c:v>954</c:v>
                </c:pt>
                <c:pt idx="236">
                  <c:v>859</c:v>
                </c:pt>
                <c:pt idx="237">
                  <c:v>927</c:v>
                </c:pt>
                <c:pt idx="238">
                  <c:v>993</c:v>
                </c:pt>
                <c:pt idx="239">
                  <c:v>1054</c:v>
                </c:pt>
                <c:pt idx="240">
                  <c:v>1107</c:v>
                </c:pt>
                <c:pt idx="241">
                  <c:v>1588</c:v>
                </c:pt>
                <c:pt idx="242">
                  <c:v>1272</c:v>
                </c:pt>
                <c:pt idx="243">
                  <c:v>1325</c:v>
                </c:pt>
                <c:pt idx="244">
                  <c:v>1658</c:v>
                </c:pt>
                <c:pt idx="245">
                  <c:v>1409</c:v>
                </c:pt>
                <c:pt idx="246">
                  <c:v>1243</c:v>
                </c:pt>
                <c:pt idx="247">
                  <c:v>1025</c:v>
                </c:pt>
                <c:pt idx="248">
                  <c:v>1036</c:v>
                </c:pt>
                <c:pt idx="249">
                  <c:v>874</c:v>
                </c:pt>
                <c:pt idx="250">
                  <c:v>1208</c:v>
                </c:pt>
                <c:pt idx="251">
                  <c:v>1775</c:v>
                </c:pt>
                <c:pt idx="252">
                  <c:v>2611</c:v>
                </c:pt>
                <c:pt idx="253">
                  <c:v>2019</c:v>
                </c:pt>
                <c:pt idx="254">
                  <c:v>1676</c:v>
                </c:pt>
                <c:pt idx="255">
                  <c:v>1217</c:v>
                </c:pt>
                <c:pt idx="256">
                  <c:v>1031</c:v>
                </c:pt>
                <c:pt idx="257">
                  <c:v>1410</c:v>
                </c:pt>
                <c:pt idx="258">
                  <c:v>534</c:v>
                </c:pt>
                <c:pt idx="259">
                  <c:v>465</c:v>
                </c:pt>
                <c:pt idx="260">
                  <c:v>643</c:v>
                </c:pt>
                <c:pt idx="261">
                  <c:v>793</c:v>
                </c:pt>
                <c:pt idx="262">
                  <c:v>951</c:v>
                </c:pt>
                <c:pt idx="263">
                  <c:v>645</c:v>
                </c:pt>
                <c:pt idx="264">
                  <c:v>633</c:v>
                </c:pt>
                <c:pt idx="265">
                  <c:v>556</c:v>
                </c:pt>
                <c:pt idx="266">
                  <c:v>892</c:v>
                </c:pt>
                <c:pt idx="267">
                  <c:v>1003</c:v>
                </c:pt>
                <c:pt idx="268">
                  <c:v>1249</c:v>
                </c:pt>
                <c:pt idx="269">
                  <c:v>1538</c:v>
                </c:pt>
                <c:pt idx="270">
                  <c:v>1363</c:v>
                </c:pt>
                <c:pt idx="271">
                  <c:v>1133</c:v>
                </c:pt>
                <c:pt idx="272">
                  <c:v>1499</c:v>
                </c:pt>
                <c:pt idx="273">
                  <c:v>1182</c:v>
                </c:pt>
                <c:pt idx="274">
                  <c:v>1103</c:v>
                </c:pt>
                <c:pt idx="275">
                  <c:v>1399</c:v>
                </c:pt>
                <c:pt idx="276">
                  <c:v>1218</c:v>
                </c:pt>
                <c:pt idx="277">
                  <c:v>925</c:v>
                </c:pt>
                <c:pt idx="278">
                  <c:v>805</c:v>
                </c:pt>
                <c:pt idx="279">
                  <c:v>772</c:v>
                </c:pt>
                <c:pt idx="280">
                  <c:v>804</c:v>
                </c:pt>
                <c:pt idx="281">
                  <c:v>977</c:v>
                </c:pt>
                <c:pt idx="282">
                  <c:v>854</c:v>
                </c:pt>
                <c:pt idx="283">
                  <c:v>968</c:v>
                </c:pt>
                <c:pt idx="284">
                  <c:v>757</c:v>
                </c:pt>
                <c:pt idx="285">
                  <c:v>756</c:v>
                </c:pt>
                <c:pt idx="286">
                  <c:v>800</c:v>
                </c:pt>
                <c:pt idx="287">
                  <c:v>898</c:v>
                </c:pt>
                <c:pt idx="288">
                  <c:v>925</c:v>
                </c:pt>
                <c:pt idx="289">
                  <c:v>763</c:v>
                </c:pt>
                <c:pt idx="290">
                  <c:v>737</c:v>
                </c:pt>
                <c:pt idx="291">
                  <c:v>850</c:v>
                </c:pt>
                <c:pt idx="292">
                  <c:v>928</c:v>
                </c:pt>
                <c:pt idx="293">
                  <c:v>840</c:v>
                </c:pt>
                <c:pt idx="294">
                  <c:v>1204</c:v>
                </c:pt>
                <c:pt idx="295">
                  <c:v>1148</c:v>
                </c:pt>
                <c:pt idx="296">
                  <c:v>2596</c:v>
                </c:pt>
                <c:pt idx="297">
                  <c:v>3467</c:v>
                </c:pt>
                <c:pt idx="298">
                  <c:v>5063</c:v>
                </c:pt>
                <c:pt idx="299">
                  <c:v>4332</c:v>
                </c:pt>
                <c:pt idx="300">
                  <c:v>1824</c:v>
                </c:pt>
                <c:pt idx="301">
                  <c:v>2588</c:v>
                </c:pt>
                <c:pt idx="302">
                  <c:v>1487</c:v>
                </c:pt>
                <c:pt idx="303">
                  <c:v>1429</c:v>
                </c:pt>
                <c:pt idx="304">
                  <c:v>1903</c:v>
                </c:pt>
                <c:pt idx="305">
                  <c:v>3546</c:v>
                </c:pt>
                <c:pt idx="306">
                  <c:v>2171</c:v>
                </c:pt>
                <c:pt idx="307">
                  <c:v>3011</c:v>
                </c:pt>
                <c:pt idx="308">
                  <c:v>2687</c:v>
                </c:pt>
                <c:pt idx="309">
                  <c:v>1640</c:v>
                </c:pt>
                <c:pt idx="310">
                  <c:v>1707</c:v>
                </c:pt>
                <c:pt idx="311">
                  <c:v>1735</c:v>
                </c:pt>
                <c:pt idx="312">
                  <c:v>2766</c:v>
                </c:pt>
                <c:pt idx="313">
                  <c:v>1808</c:v>
                </c:pt>
                <c:pt idx="314">
                  <c:v>1518</c:v>
                </c:pt>
                <c:pt idx="315">
                  <c:v>1567</c:v>
                </c:pt>
                <c:pt idx="316">
                  <c:v>2524</c:v>
                </c:pt>
                <c:pt idx="317">
                  <c:v>2103</c:v>
                </c:pt>
                <c:pt idx="318">
                  <c:v>1700</c:v>
                </c:pt>
                <c:pt idx="319">
                  <c:v>1303</c:v>
                </c:pt>
                <c:pt idx="320">
                  <c:v>907</c:v>
                </c:pt>
                <c:pt idx="321">
                  <c:v>786</c:v>
                </c:pt>
                <c:pt idx="322">
                  <c:v>782</c:v>
                </c:pt>
                <c:pt idx="323">
                  <c:v>1135</c:v>
                </c:pt>
                <c:pt idx="324">
                  <c:v>1095</c:v>
                </c:pt>
                <c:pt idx="325">
                  <c:v>2474</c:v>
                </c:pt>
                <c:pt idx="326">
                  <c:v>1417</c:v>
                </c:pt>
                <c:pt idx="327">
                  <c:v>1568</c:v>
                </c:pt>
                <c:pt idx="328">
                  <c:v>1677</c:v>
                </c:pt>
                <c:pt idx="329">
                  <c:v>1717</c:v>
                </c:pt>
                <c:pt idx="330">
                  <c:v>1524</c:v>
                </c:pt>
                <c:pt idx="331">
                  <c:v>1311</c:v>
                </c:pt>
                <c:pt idx="332">
                  <c:v>1543</c:v>
                </c:pt>
                <c:pt idx="333">
                  <c:v>1527</c:v>
                </c:pt>
                <c:pt idx="334">
                  <c:v>1340</c:v>
                </c:pt>
                <c:pt idx="335">
                  <c:v>1450</c:v>
                </c:pt>
                <c:pt idx="336">
                  <c:v>1174</c:v>
                </c:pt>
                <c:pt idx="337">
                  <c:v>842</c:v>
                </c:pt>
                <c:pt idx="338">
                  <c:v>1019</c:v>
                </c:pt>
                <c:pt idx="339">
                  <c:v>932</c:v>
                </c:pt>
                <c:pt idx="340">
                  <c:v>810</c:v>
                </c:pt>
                <c:pt idx="341">
                  <c:v>637</c:v>
                </c:pt>
                <c:pt idx="342">
                  <c:v>664</c:v>
                </c:pt>
                <c:pt idx="343">
                  <c:v>754</c:v>
                </c:pt>
                <c:pt idx="344">
                  <c:v>1307</c:v>
                </c:pt>
                <c:pt idx="345">
                  <c:v>2912</c:v>
                </c:pt>
                <c:pt idx="346">
                  <c:v>4457</c:v>
                </c:pt>
                <c:pt idx="347">
                  <c:v>2758</c:v>
                </c:pt>
                <c:pt idx="348">
                  <c:v>842</c:v>
                </c:pt>
                <c:pt idx="349">
                  <c:v>901</c:v>
                </c:pt>
                <c:pt idx="350">
                  <c:v>1389</c:v>
                </c:pt>
                <c:pt idx="351">
                  <c:v>1662</c:v>
                </c:pt>
                <c:pt idx="352">
                  <c:v>1255</c:v>
                </c:pt>
                <c:pt idx="353">
                  <c:v>1095</c:v>
                </c:pt>
                <c:pt idx="354">
                  <c:v>1616</c:v>
                </c:pt>
                <c:pt idx="355">
                  <c:v>923</c:v>
                </c:pt>
                <c:pt idx="356">
                  <c:v>993</c:v>
                </c:pt>
                <c:pt idx="357">
                  <c:v>950</c:v>
                </c:pt>
                <c:pt idx="358">
                  <c:v>1382</c:v>
                </c:pt>
                <c:pt idx="359">
                  <c:v>1382</c:v>
                </c:pt>
                <c:pt idx="360">
                  <c:v>1308</c:v>
                </c:pt>
                <c:pt idx="361">
                  <c:v>812</c:v>
                </c:pt>
                <c:pt idx="362">
                  <c:v>968</c:v>
                </c:pt>
                <c:pt idx="363">
                  <c:v>804</c:v>
                </c:pt>
                <c:pt idx="364">
                  <c:v>726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45048623"/>
        <c:axId val="1845051535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Revenu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General</c:formatCode>
                <c:ptCount val="365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dateAx>
        <c:axId val="-955199408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 val="autoZero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Revenue (in USD)</a:t>
                </a:r>
                <a:endParaRPr lang="en-IN" b="1"/>
              </a:p>
            </c:rich>
          </c:tx>
          <c:layout>
            <c:manualLayout>
              <c:xMode val="edge"/>
              <c:yMode val="edge"/>
              <c:x val="1.7067833942136307E-2"/>
              <c:y val="0.214663826403764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1845051535"/>
        <c:scaling>
          <c:orientation val="minMax"/>
          <c:max val="300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 i="0" kern="1200" baseline="0" dirty="0">
                    <a:solidFill>
                      <a:srgbClr val="000000"/>
                    </a:solidFill>
                    <a:effectLst/>
                  </a:rPr>
                  <a:t>Search Impressions(Google) (‘000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5048623"/>
        <c:crosses val="max"/>
        <c:crossBetween val="between"/>
        <c:dispUnits>
          <c:builtInUnit val="thousands"/>
        </c:dispUnits>
      </c:valAx>
      <c:dateAx>
        <c:axId val="1845048623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45051535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677907955522532"/>
          <c:y val="0.89640992560702837"/>
          <c:w val="0.26644184088954936"/>
          <c:h val="6.44093085870944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j-ea"/>
                <a:cs typeface="+mj-cs"/>
              </a:rPr>
              <a:t>Search Impressions(Apple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647250685203459E-2"/>
          <c:y val="0.1110100897260959"/>
          <c:w val="0.85009385801103066"/>
          <c:h val="0.589940247672507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arch Impressions(Apple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#,##0</c:formatCode>
                <c:ptCount val="365"/>
                <c:pt idx="0">
                  <c:v>955</c:v>
                </c:pt>
                <c:pt idx="1">
                  <c:v>3481</c:v>
                </c:pt>
                <c:pt idx="2">
                  <c:v>1026</c:v>
                </c:pt>
                <c:pt idx="3">
                  <c:v>878</c:v>
                </c:pt>
                <c:pt idx="4">
                  <c:v>726</c:v>
                </c:pt>
                <c:pt idx="5">
                  <c:v>710</c:v>
                </c:pt>
                <c:pt idx="6">
                  <c:v>134</c:v>
                </c:pt>
                <c:pt idx="7">
                  <c:v>44</c:v>
                </c:pt>
                <c:pt idx="8">
                  <c:v>590</c:v>
                </c:pt>
                <c:pt idx="9">
                  <c:v>870</c:v>
                </c:pt>
                <c:pt idx="10">
                  <c:v>1175</c:v>
                </c:pt>
                <c:pt idx="11">
                  <c:v>723</c:v>
                </c:pt>
                <c:pt idx="12">
                  <c:v>620</c:v>
                </c:pt>
                <c:pt idx="13">
                  <c:v>595</c:v>
                </c:pt>
                <c:pt idx="14">
                  <c:v>846</c:v>
                </c:pt>
                <c:pt idx="15">
                  <c:v>822</c:v>
                </c:pt>
                <c:pt idx="16">
                  <c:v>951</c:v>
                </c:pt>
                <c:pt idx="17">
                  <c:v>826</c:v>
                </c:pt>
                <c:pt idx="18">
                  <c:v>949</c:v>
                </c:pt>
                <c:pt idx="19">
                  <c:v>1003</c:v>
                </c:pt>
                <c:pt idx="20">
                  <c:v>976</c:v>
                </c:pt>
                <c:pt idx="21">
                  <c:v>1090</c:v>
                </c:pt>
                <c:pt idx="22">
                  <c:v>703</c:v>
                </c:pt>
                <c:pt idx="23">
                  <c:v>982</c:v>
                </c:pt>
                <c:pt idx="24">
                  <c:v>844</c:v>
                </c:pt>
                <c:pt idx="25">
                  <c:v>1005</c:v>
                </c:pt>
                <c:pt idx="26">
                  <c:v>1112</c:v>
                </c:pt>
                <c:pt idx="27">
                  <c:v>1140</c:v>
                </c:pt>
                <c:pt idx="28">
                  <c:v>1194</c:v>
                </c:pt>
                <c:pt idx="29">
                  <c:v>1271</c:v>
                </c:pt>
                <c:pt idx="30">
                  <c:v>1019</c:v>
                </c:pt>
                <c:pt idx="31">
                  <c:v>760</c:v>
                </c:pt>
                <c:pt idx="32">
                  <c:v>1038</c:v>
                </c:pt>
                <c:pt idx="33">
                  <c:v>960</c:v>
                </c:pt>
                <c:pt idx="34">
                  <c:v>852</c:v>
                </c:pt>
                <c:pt idx="35">
                  <c:v>992</c:v>
                </c:pt>
                <c:pt idx="36">
                  <c:v>752</c:v>
                </c:pt>
                <c:pt idx="37">
                  <c:v>1035</c:v>
                </c:pt>
                <c:pt idx="38">
                  <c:v>899</c:v>
                </c:pt>
                <c:pt idx="39">
                  <c:v>837</c:v>
                </c:pt>
                <c:pt idx="40">
                  <c:v>1014</c:v>
                </c:pt>
                <c:pt idx="41">
                  <c:v>866</c:v>
                </c:pt>
                <c:pt idx="42">
                  <c:v>1116</c:v>
                </c:pt>
                <c:pt idx="43">
                  <c:v>1299</c:v>
                </c:pt>
                <c:pt idx="44">
                  <c:v>1782</c:v>
                </c:pt>
                <c:pt idx="45">
                  <c:v>1520</c:v>
                </c:pt>
                <c:pt idx="46">
                  <c:v>827</c:v>
                </c:pt>
                <c:pt idx="47">
                  <c:v>874</c:v>
                </c:pt>
                <c:pt idx="48">
                  <c:v>614</c:v>
                </c:pt>
                <c:pt idx="49">
                  <c:v>964</c:v>
                </c:pt>
                <c:pt idx="50">
                  <c:v>932</c:v>
                </c:pt>
                <c:pt idx="51">
                  <c:v>918</c:v>
                </c:pt>
                <c:pt idx="52">
                  <c:v>1213</c:v>
                </c:pt>
                <c:pt idx="53">
                  <c:v>833</c:v>
                </c:pt>
                <c:pt idx="54">
                  <c:v>1065</c:v>
                </c:pt>
                <c:pt idx="55">
                  <c:v>1841</c:v>
                </c:pt>
                <c:pt idx="56">
                  <c:v>732</c:v>
                </c:pt>
                <c:pt idx="57">
                  <c:v>1139</c:v>
                </c:pt>
                <c:pt idx="58">
                  <c:v>1407</c:v>
                </c:pt>
                <c:pt idx="59">
                  <c:v>968</c:v>
                </c:pt>
                <c:pt idx="60">
                  <c:v>922</c:v>
                </c:pt>
                <c:pt idx="61">
                  <c:v>1004</c:v>
                </c:pt>
                <c:pt idx="62">
                  <c:v>979</c:v>
                </c:pt>
                <c:pt idx="63">
                  <c:v>598</c:v>
                </c:pt>
                <c:pt idx="64">
                  <c:v>659</c:v>
                </c:pt>
                <c:pt idx="65">
                  <c:v>834</c:v>
                </c:pt>
                <c:pt idx="66">
                  <c:v>728</c:v>
                </c:pt>
                <c:pt idx="67">
                  <c:v>498</c:v>
                </c:pt>
                <c:pt idx="68">
                  <c:v>603</c:v>
                </c:pt>
                <c:pt idx="69">
                  <c:v>395</c:v>
                </c:pt>
                <c:pt idx="70">
                  <c:v>546</c:v>
                </c:pt>
                <c:pt idx="71">
                  <c:v>1887</c:v>
                </c:pt>
                <c:pt idx="72">
                  <c:v>1962</c:v>
                </c:pt>
                <c:pt idx="73">
                  <c:v>546</c:v>
                </c:pt>
                <c:pt idx="74">
                  <c:v>436</c:v>
                </c:pt>
                <c:pt idx="75">
                  <c:v>392</c:v>
                </c:pt>
                <c:pt idx="76">
                  <c:v>412</c:v>
                </c:pt>
                <c:pt idx="77">
                  <c:v>393</c:v>
                </c:pt>
                <c:pt idx="78">
                  <c:v>621</c:v>
                </c:pt>
                <c:pt idx="79">
                  <c:v>829</c:v>
                </c:pt>
                <c:pt idx="80">
                  <c:v>887</c:v>
                </c:pt>
                <c:pt idx="81">
                  <c:v>634</c:v>
                </c:pt>
                <c:pt idx="82">
                  <c:v>462</c:v>
                </c:pt>
                <c:pt idx="83">
                  <c:v>501</c:v>
                </c:pt>
                <c:pt idx="84">
                  <c:v>521</c:v>
                </c:pt>
                <c:pt idx="85">
                  <c:v>651</c:v>
                </c:pt>
                <c:pt idx="86">
                  <c:v>812</c:v>
                </c:pt>
                <c:pt idx="87">
                  <c:v>664</c:v>
                </c:pt>
                <c:pt idx="88">
                  <c:v>579</c:v>
                </c:pt>
                <c:pt idx="89">
                  <c:v>457</c:v>
                </c:pt>
                <c:pt idx="90">
                  <c:v>626</c:v>
                </c:pt>
                <c:pt idx="91">
                  <c:v>743</c:v>
                </c:pt>
                <c:pt idx="92">
                  <c:v>1036</c:v>
                </c:pt>
                <c:pt idx="93">
                  <c:v>1351</c:v>
                </c:pt>
                <c:pt idx="94">
                  <c:v>1233</c:v>
                </c:pt>
                <c:pt idx="95">
                  <c:v>662</c:v>
                </c:pt>
                <c:pt idx="96">
                  <c:v>399</c:v>
                </c:pt>
                <c:pt idx="97">
                  <c:v>341</c:v>
                </c:pt>
                <c:pt idx="98">
                  <c:v>404</c:v>
                </c:pt>
                <c:pt idx="99">
                  <c:v>505</c:v>
                </c:pt>
                <c:pt idx="100">
                  <c:v>648</c:v>
                </c:pt>
                <c:pt idx="101">
                  <c:v>580</c:v>
                </c:pt>
                <c:pt idx="102">
                  <c:v>416</c:v>
                </c:pt>
                <c:pt idx="103">
                  <c:v>422</c:v>
                </c:pt>
                <c:pt idx="104">
                  <c:v>369</c:v>
                </c:pt>
                <c:pt idx="105">
                  <c:v>447</c:v>
                </c:pt>
                <c:pt idx="106">
                  <c:v>727</c:v>
                </c:pt>
                <c:pt idx="107">
                  <c:v>585</c:v>
                </c:pt>
                <c:pt idx="108">
                  <c:v>546</c:v>
                </c:pt>
                <c:pt idx="109">
                  <c:v>444</c:v>
                </c:pt>
                <c:pt idx="110">
                  <c:v>444</c:v>
                </c:pt>
                <c:pt idx="111">
                  <c:v>612</c:v>
                </c:pt>
                <c:pt idx="112">
                  <c:v>655</c:v>
                </c:pt>
                <c:pt idx="113">
                  <c:v>507</c:v>
                </c:pt>
                <c:pt idx="114">
                  <c:v>549</c:v>
                </c:pt>
                <c:pt idx="115">
                  <c:v>563</c:v>
                </c:pt>
                <c:pt idx="116">
                  <c:v>440</c:v>
                </c:pt>
                <c:pt idx="117">
                  <c:v>368</c:v>
                </c:pt>
                <c:pt idx="118">
                  <c:v>489</c:v>
                </c:pt>
                <c:pt idx="119">
                  <c:v>468</c:v>
                </c:pt>
                <c:pt idx="120">
                  <c:v>528</c:v>
                </c:pt>
                <c:pt idx="121">
                  <c:v>725</c:v>
                </c:pt>
                <c:pt idx="122">
                  <c:v>764</c:v>
                </c:pt>
                <c:pt idx="123">
                  <c:v>551</c:v>
                </c:pt>
                <c:pt idx="124">
                  <c:v>398</c:v>
                </c:pt>
                <c:pt idx="125">
                  <c:v>499</c:v>
                </c:pt>
                <c:pt idx="126">
                  <c:v>1504</c:v>
                </c:pt>
                <c:pt idx="127">
                  <c:v>514</c:v>
                </c:pt>
                <c:pt idx="128">
                  <c:v>897</c:v>
                </c:pt>
                <c:pt idx="129">
                  <c:v>634</c:v>
                </c:pt>
                <c:pt idx="130">
                  <c:v>335</c:v>
                </c:pt>
                <c:pt idx="131">
                  <c:v>362</c:v>
                </c:pt>
                <c:pt idx="132">
                  <c:v>421</c:v>
                </c:pt>
                <c:pt idx="133">
                  <c:v>384</c:v>
                </c:pt>
                <c:pt idx="134">
                  <c:v>534</c:v>
                </c:pt>
                <c:pt idx="135">
                  <c:v>474</c:v>
                </c:pt>
                <c:pt idx="136">
                  <c:v>576</c:v>
                </c:pt>
                <c:pt idx="137">
                  <c:v>494</c:v>
                </c:pt>
                <c:pt idx="138">
                  <c:v>524</c:v>
                </c:pt>
                <c:pt idx="139">
                  <c:v>549</c:v>
                </c:pt>
                <c:pt idx="140">
                  <c:v>638</c:v>
                </c:pt>
                <c:pt idx="141">
                  <c:v>563</c:v>
                </c:pt>
                <c:pt idx="142">
                  <c:v>548</c:v>
                </c:pt>
                <c:pt idx="143">
                  <c:v>582</c:v>
                </c:pt>
                <c:pt idx="144">
                  <c:v>537</c:v>
                </c:pt>
                <c:pt idx="145">
                  <c:v>430</c:v>
                </c:pt>
                <c:pt idx="146">
                  <c:v>380</c:v>
                </c:pt>
                <c:pt idx="147">
                  <c:v>525</c:v>
                </c:pt>
                <c:pt idx="148">
                  <c:v>478</c:v>
                </c:pt>
                <c:pt idx="149">
                  <c:v>472</c:v>
                </c:pt>
                <c:pt idx="150">
                  <c:v>609</c:v>
                </c:pt>
                <c:pt idx="151">
                  <c:v>1012</c:v>
                </c:pt>
                <c:pt idx="152">
                  <c:v>2109</c:v>
                </c:pt>
                <c:pt idx="153">
                  <c:v>1649</c:v>
                </c:pt>
                <c:pt idx="154">
                  <c:v>901</c:v>
                </c:pt>
                <c:pt idx="155">
                  <c:v>1138</c:v>
                </c:pt>
                <c:pt idx="156">
                  <c:v>1335</c:v>
                </c:pt>
                <c:pt idx="157">
                  <c:v>1058</c:v>
                </c:pt>
                <c:pt idx="158">
                  <c:v>1547</c:v>
                </c:pt>
                <c:pt idx="159">
                  <c:v>1212</c:v>
                </c:pt>
                <c:pt idx="160">
                  <c:v>1514</c:v>
                </c:pt>
                <c:pt idx="161">
                  <c:v>651</c:v>
                </c:pt>
                <c:pt idx="162">
                  <c:v>750</c:v>
                </c:pt>
                <c:pt idx="163">
                  <c:v>734</c:v>
                </c:pt>
                <c:pt idx="164">
                  <c:v>679</c:v>
                </c:pt>
                <c:pt idx="165">
                  <c:v>579</c:v>
                </c:pt>
                <c:pt idx="166">
                  <c:v>632</c:v>
                </c:pt>
                <c:pt idx="167">
                  <c:v>748</c:v>
                </c:pt>
                <c:pt idx="168">
                  <c:v>587</c:v>
                </c:pt>
                <c:pt idx="169">
                  <c:v>566</c:v>
                </c:pt>
                <c:pt idx="170">
                  <c:v>429</c:v>
                </c:pt>
                <c:pt idx="171">
                  <c:v>427</c:v>
                </c:pt>
                <c:pt idx="172">
                  <c:v>442</c:v>
                </c:pt>
                <c:pt idx="173">
                  <c:v>406</c:v>
                </c:pt>
                <c:pt idx="174">
                  <c:v>516</c:v>
                </c:pt>
                <c:pt idx="175">
                  <c:v>568</c:v>
                </c:pt>
                <c:pt idx="176">
                  <c:v>521</c:v>
                </c:pt>
                <c:pt idx="177">
                  <c:v>574</c:v>
                </c:pt>
                <c:pt idx="178">
                  <c:v>552</c:v>
                </c:pt>
                <c:pt idx="179">
                  <c:v>5791</c:v>
                </c:pt>
                <c:pt idx="180">
                  <c:v>3694</c:v>
                </c:pt>
                <c:pt idx="181">
                  <c:v>591</c:v>
                </c:pt>
                <c:pt idx="182">
                  <c:v>473</c:v>
                </c:pt>
                <c:pt idx="183">
                  <c:v>673</c:v>
                </c:pt>
                <c:pt idx="184">
                  <c:v>470</c:v>
                </c:pt>
                <c:pt idx="185">
                  <c:v>611</c:v>
                </c:pt>
                <c:pt idx="186">
                  <c:v>687</c:v>
                </c:pt>
                <c:pt idx="187">
                  <c:v>513</c:v>
                </c:pt>
                <c:pt idx="188">
                  <c:v>446</c:v>
                </c:pt>
                <c:pt idx="189">
                  <c:v>476</c:v>
                </c:pt>
                <c:pt idx="190">
                  <c:v>559</c:v>
                </c:pt>
                <c:pt idx="191">
                  <c:v>598</c:v>
                </c:pt>
                <c:pt idx="192">
                  <c:v>621</c:v>
                </c:pt>
                <c:pt idx="193">
                  <c:v>731</c:v>
                </c:pt>
                <c:pt idx="194">
                  <c:v>829</c:v>
                </c:pt>
                <c:pt idx="195">
                  <c:v>720</c:v>
                </c:pt>
                <c:pt idx="196">
                  <c:v>715</c:v>
                </c:pt>
                <c:pt idx="197">
                  <c:v>746</c:v>
                </c:pt>
                <c:pt idx="198">
                  <c:v>1156</c:v>
                </c:pt>
                <c:pt idx="199">
                  <c:v>1129</c:v>
                </c:pt>
                <c:pt idx="200">
                  <c:v>1716</c:v>
                </c:pt>
                <c:pt idx="201">
                  <c:v>1613</c:v>
                </c:pt>
                <c:pt idx="202">
                  <c:v>1314</c:v>
                </c:pt>
                <c:pt idx="203">
                  <c:v>1281</c:v>
                </c:pt>
                <c:pt idx="204">
                  <c:v>1514</c:v>
                </c:pt>
                <c:pt idx="205">
                  <c:v>1117</c:v>
                </c:pt>
                <c:pt idx="206">
                  <c:v>1119</c:v>
                </c:pt>
                <c:pt idx="207">
                  <c:v>1316</c:v>
                </c:pt>
                <c:pt idx="208">
                  <c:v>3889</c:v>
                </c:pt>
                <c:pt idx="209">
                  <c:v>4156</c:v>
                </c:pt>
                <c:pt idx="210">
                  <c:v>3872</c:v>
                </c:pt>
                <c:pt idx="211">
                  <c:v>5437</c:v>
                </c:pt>
                <c:pt idx="212">
                  <c:v>4478</c:v>
                </c:pt>
                <c:pt idx="213">
                  <c:v>4656</c:v>
                </c:pt>
                <c:pt idx="214">
                  <c:v>2525</c:v>
                </c:pt>
                <c:pt idx="215">
                  <c:v>3018</c:v>
                </c:pt>
                <c:pt idx="216">
                  <c:v>3931</c:v>
                </c:pt>
                <c:pt idx="217">
                  <c:v>3542</c:v>
                </c:pt>
                <c:pt idx="218">
                  <c:v>2499</c:v>
                </c:pt>
                <c:pt idx="219">
                  <c:v>3644</c:v>
                </c:pt>
                <c:pt idx="220">
                  <c:v>3813</c:v>
                </c:pt>
                <c:pt idx="221">
                  <c:v>4164</c:v>
                </c:pt>
                <c:pt idx="222">
                  <c:v>4074</c:v>
                </c:pt>
                <c:pt idx="223">
                  <c:v>3066</c:v>
                </c:pt>
                <c:pt idx="224">
                  <c:v>3256</c:v>
                </c:pt>
                <c:pt idx="225">
                  <c:v>2496</c:v>
                </c:pt>
                <c:pt idx="226">
                  <c:v>4307</c:v>
                </c:pt>
                <c:pt idx="227">
                  <c:v>4189</c:v>
                </c:pt>
                <c:pt idx="228">
                  <c:v>4707</c:v>
                </c:pt>
                <c:pt idx="229">
                  <c:v>3375</c:v>
                </c:pt>
                <c:pt idx="230">
                  <c:v>5011</c:v>
                </c:pt>
                <c:pt idx="231">
                  <c:v>4341</c:v>
                </c:pt>
                <c:pt idx="232">
                  <c:v>357</c:v>
                </c:pt>
                <c:pt idx="233">
                  <c:v>555</c:v>
                </c:pt>
                <c:pt idx="234">
                  <c:v>839</c:v>
                </c:pt>
                <c:pt idx="235">
                  <c:v>882</c:v>
                </c:pt>
                <c:pt idx="236">
                  <c:v>612</c:v>
                </c:pt>
                <c:pt idx="237">
                  <c:v>463</c:v>
                </c:pt>
                <c:pt idx="238">
                  <c:v>439</c:v>
                </c:pt>
                <c:pt idx="239">
                  <c:v>2153</c:v>
                </c:pt>
                <c:pt idx="240">
                  <c:v>2812</c:v>
                </c:pt>
                <c:pt idx="241">
                  <c:v>2886</c:v>
                </c:pt>
                <c:pt idx="242">
                  <c:v>385</c:v>
                </c:pt>
                <c:pt idx="243">
                  <c:v>460</c:v>
                </c:pt>
                <c:pt idx="244">
                  <c:v>325</c:v>
                </c:pt>
                <c:pt idx="245">
                  <c:v>3303</c:v>
                </c:pt>
                <c:pt idx="246">
                  <c:v>4702</c:v>
                </c:pt>
                <c:pt idx="247">
                  <c:v>5826</c:v>
                </c:pt>
                <c:pt idx="248">
                  <c:v>435</c:v>
                </c:pt>
                <c:pt idx="249">
                  <c:v>673</c:v>
                </c:pt>
                <c:pt idx="250">
                  <c:v>181</c:v>
                </c:pt>
                <c:pt idx="251">
                  <c:v>33</c:v>
                </c:pt>
                <c:pt idx="252">
                  <c:v>511</c:v>
                </c:pt>
                <c:pt idx="253">
                  <c:v>570</c:v>
                </c:pt>
                <c:pt idx="254">
                  <c:v>508</c:v>
                </c:pt>
                <c:pt idx="255">
                  <c:v>509</c:v>
                </c:pt>
                <c:pt idx="256">
                  <c:v>437</c:v>
                </c:pt>
                <c:pt idx="257">
                  <c:v>408</c:v>
                </c:pt>
                <c:pt idx="258">
                  <c:v>1332</c:v>
                </c:pt>
                <c:pt idx="259">
                  <c:v>3590</c:v>
                </c:pt>
                <c:pt idx="260">
                  <c:v>3089</c:v>
                </c:pt>
                <c:pt idx="261">
                  <c:v>451</c:v>
                </c:pt>
                <c:pt idx="262">
                  <c:v>50</c:v>
                </c:pt>
                <c:pt idx="263">
                  <c:v>316</c:v>
                </c:pt>
                <c:pt idx="264">
                  <c:v>420</c:v>
                </c:pt>
                <c:pt idx="265">
                  <c:v>680</c:v>
                </c:pt>
                <c:pt idx="266">
                  <c:v>705</c:v>
                </c:pt>
                <c:pt idx="267">
                  <c:v>628</c:v>
                </c:pt>
                <c:pt idx="268">
                  <c:v>715</c:v>
                </c:pt>
                <c:pt idx="269">
                  <c:v>816</c:v>
                </c:pt>
                <c:pt idx="270">
                  <c:v>860</c:v>
                </c:pt>
                <c:pt idx="271">
                  <c:v>4565</c:v>
                </c:pt>
                <c:pt idx="272">
                  <c:v>4357</c:v>
                </c:pt>
                <c:pt idx="273">
                  <c:v>5341</c:v>
                </c:pt>
                <c:pt idx="274">
                  <c:v>5288</c:v>
                </c:pt>
                <c:pt idx="275">
                  <c:v>2526</c:v>
                </c:pt>
                <c:pt idx="276">
                  <c:v>3430</c:v>
                </c:pt>
                <c:pt idx="277">
                  <c:v>2636</c:v>
                </c:pt>
                <c:pt idx="278">
                  <c:v>3051</c:v>
                </c:pt>
                <c:pt idx="279">
                  <c:v>2870</c:v>
                </c:pt>
                <c:pt idx="280">
                  <c:v>2313</c:v>
                </c:pt>
                <c:pt idx="281">
                  <c:v>4042</c:v>
                </c:pt>
                <c:pt idx="282">
                  <c:v>3033</c:v>
                </c:pt>
                <c:pt idx="283">
                  <c:v>3116</c:v>
                </c:pt>
                <c:pt idx="284">
                  <c:v>3954</c:v>
                </c:pt>
                <c:pt idx="285">
                  <c:v>3125</c:v>
                </c:pt>
                <c:pt idx="286">
                  <c:v>1828</c:v>
                </c:pt>
                <c:pt idx="287">
                  <c:v>2570</c:v>
                </c:pt>
                <c:pt idx="288">
                  <c:v>4052</c:v>
                </c:pt>
                <c:pt idx="289">
                  <c:v>2530</c:v>
                </c:pt>
                <c:pt idx="290">
                  <c:v>1010</c:v>
                </c:pt>
                <c:pt idx="291">
                  <c:v>648</c:v>
                </c:pt>
                <c:pt idx="292">
                  <c:v>3255</c:v>
                </c:pt>
                <c:pt idx="293">
                  <c:v>1528</c:v>
                </c:pt>
                <c:pt idx="294">
                  <c:v>523</c:v>
                </c:pt>
                <c:pt idx="295">
                  <c:v>572</c:v>
                </c:pt>
                <c:pt idx="296">
                  <c:v>575</c:v>
                </c:pt>
                <c:pt idx="297">
                  <c:v>351</c:v>
                </c:pt>
                <c:pt idx="298">
                  <c:v>1145</c:v>
                </c:pt>
                <c:pt idx="299">
                  <c:v>482</c:v>
                </c:pt>
                <c:pt idx="300">
                  <c:v>396</c:v>
                </c:pt>
                <c:pt idx="301">
                  <c:v>771</c:v>
                </c:pt>
                <c:pt idx="302">
                  <c:v>3051</c:v>
                </c:pt>
                <c:pt idx="303">
                  <c:v>996</c:v>
                </c:pt>
                <c:pt idx="304">
                  <c:v>343</c:v>
                </c:pt>
                <c:pt idx="305">
                  <c:v>312</c:v>
                </c:pt>
                <c:pt idx="306">
                  <c:v>291</c:v>
                </c:pt>
                <c:pt idx="307">
                  <c:v>404</c:v>
                </c:pt>
                <c:pt idx="308">
                  <c:v>310</c:v>
                </c:pt>
                <c:pt idx="309">
                  <c:v>363</c:v>
                </c:pt>
                <c:pt idx="310">
                  <c:v>313</c:v>
                </c:pt>
                <c:pt idx="311">
                  <c:v>478</c:v>
                </c:pt>
                <c:pt idx="312">
                  <c:v>5326</c:v>
                </c:pt>
                <c:pt idx="313">
                  <c:v>5003</c:v>
                </c:pt>
                <c:pt idx="314">
                  <c:v>2538</c:v>
                </c:pt>
                <c:pt idx="315">
                  <c:v>1437</c:v>
                </c:pt>
                <c:pt idx="316">
                  <c:v>319</c:v>
                </c:pt>
                <c:pt idx="317">
                  <c:v>2139</c:v>
                </c:pt>
                <c:pt idx="318">
                  <c:v>2938</c:v>
                </c:pt>
                <c:pt idx="319">
                  <c:v>2326</c:v>
                </c:pt>
                <c:pt idx="320">
                  <c:v>2524</c:v>
                </c:pt>
                <c:pt idx="321">
                  <c:v>2877</c:v>
                </c:pt>
                <c:pt idx="322">
                  <c:v>4837</c:v>
                </c:pt>
                <c:pt idx="323">
                  <c:v>3575</c:v>
                </c:pt>
                <c:pt idx="324">
                  <c:v>5393</c:v>
                </c:pt>
                <c:pt idx="325">
                  <c:v>5184</c:v>
                </c:pt>
                <c:pt idx="326">
                  <c:v>2339</c:v>
                </c:pt>
                <c:pt idx="327">
                  <c:v>2732</c:v>
                </c:pt>
                <c:pt idx="328">
                  <c:v>2746</c:v>
                </c:pt>
                <c:pt idx="329">
                  <c:v>3035</c:v>
                </c:pt>
                <c:pt idx="330">
                  <c:v>2279</c:v>
                </c:pt>
                <c:pt idx="331">
                  <c:v>2902</c:v>
                </c:pt>
                <c:pt idx="332">
                  <c:v>1887</c:v>
                </c:pt>
                <c:pt idx="333">
                  <c:v>2854</c:v>
                </c:pt>
                <c:pt idx="334">
                  <c:v>1895</c:v>
                </c:pt>
                <c:pt idx="335">
                  <c:v>2143</c:v>
                </c:pt>
                <c:pt idx="336">
                  <c:v>2355</c:v>
                </c:pt>
                <c:pt idx="337">
                  <c:v>2881</c:v>
                </c:pt>
                <c:pt idx="338">
                  <c:v>3171</c:v>
                </c:pt>
                <c:pt idx="339">
                  <c:v>1723</c:v>
                </c:pt>
                <c:pt idx="340">
                  <c:v>2279</c:v>
                </c:pt>
                <c:pt idx="341">
                  <c:v>2052</c:v>
                </c:pt>
                <c:pt idx="342">
                  <c:v>1041</c:v>
                </c:pt>
                <c:pt idx="343">
                  <c:v>944</c:v>
                </c:pt>
                <c:pt idx="344">
                  <c:v>1280</c:v>
                </c:pt>
                <c:pt idx="345">
                  <c:v>1058</c:v>
                </c:pt>
                <c:pt idx="346">
                  <c:v>1097</c:v>
                </c:pt>
                <c:pt idx="347">
                  <c:v>957</c:v>
                </c:pt>
                <c:pt idx="348">
                  <c:v>549</c:v>
                </c:pt>
                <c:pt idx="349">
                  <c:v>883</c:v>
                </c:pt>
                <c:pt idx="350">
                  <c:v>1289</c:v>
                </c:pt>
                <c:pt idx="351">
                  <c:v>731</c:v>
                </c:pt>
                <c:pt idx="352">
                  <c:v>1038</c:v>
                </c:pt>
                <c:pt idx="353">
                  <c:v>644</c:v>
                </c:pt>
                <c:pt idx="354">
                  <c:v>1170</c:v>
                </c:pt>
                <c:pt idx="355">
                  <c:v>1132</c:v>
                </c:pt>
                <c:pt idx="356">
                  <c:v>1219</c:v>
                </c:pt>
                <c:pt idx="357">
                  <c:v>1054</c:v>
                </c:pt>
                <c:pt idx="358">
                  <c:v>1083</c:v>
                </c:pt>
                <c:pt idx="359">
                  <c:v>1534</c:v>
                </c:pt>
                <c:pt idx="360">
                  <c:v>2061</c:v>
                </c:pt>
                <c:pt idx="361">
                  <c:v>1299</c:v>
                </c:pt>
                <c:pt idx="362">
                  <c:v>777</c:v>
                </c:pt>
                <c:pt idx="363">
                  <c:v>2282</c:v>
                </c:pt>
                <c:pt idx="364">
                  <c:v>1834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45048623"/>
        <c:axId val="1845051535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Revenu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General</c:formatCode>
                <c:ptCount val="365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dateAx>
        <c:axId val="-955199408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 val="autoZero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Revenue (in USD)</a:t>
                </a:r>
                <a:endParaRPr lang="en-IN" b="1"/>
              </a:p>
            </c:rich>
          </c:tx>
          <c:layout>
            <c:manualLayout>
              <c:xMode val="edge"/>
              <c:yMode val="edge"/>
              <c:x val="1.7067833942136307E-2"/>
              <c:y val="0.214663826403764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1845051535"/>
        <c:scaling>
          <c:orientation val="minMax"/>
          <c:max val="300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 i="0" kern="1200" baseline="0" dirty="0">
                    <a:solidFill>
                      <a:srgbClr val="000000"/>
                    </a:solidFill>
                    <a:effectLst/>
                  </a:rPr>
                  <a:t>Search (Impressions(Apple) (‘000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5048623"/>
        <c:crosses val="max"/>
        <c:crossBetween val="between"/>
        <c:dispUnits>
          <c:builtInUnit val="thousands"/>
        </c:dispUnits>
      </c:valAx>
      <c:dateAx>
        <c:axId val="1845048623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45051535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677907955522532"/>
          <c:y val="0.89640992560702837"/>
          <c:w val="0.26644184088954936"/>
          <c:h val="6.44093085870944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j-ea"/>
                <a:cs typeface="+mj-cs"/>
              </a:rPr>
              <a:t>Non-Social Video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647250685203459E-2"/>
          <c:y val="0.1110100897260959"/>
          <c:w val="0.85009385801103066"/>
          <c:h val="0.589940247672507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n-Social Video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#,##0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7602</c:v>
                </c:pt>
                <c:pt idx="229">
                  <c:v>19843</c:v>
                </c:pt>
                <c:pt idx="230">
                  <c:v>20145</c:v>
                </c:pt>
                <c:pt idx="231">
                  <c:v>22796</c:v>
                </c:pt>
                <c:pt idx="232">
                  <c:v>22168</c:v>
                </c:pt>
                <c:pt idx="233">
                  <c:v>21207</c:v>
                </c:pt>
                <c:pt idx="234">
                  <c:v>10824</c:v>
                </c:pt>
                <c:pt idx="235">
                  <c:v>1202</c:v>
                </c:pt>
                <c:pt idx="236">
                  <c:v>579</c:v>
                </c:pt>
                <c:pt idx="237">
                  <c:v>1575</c:v>
                </c:pt>
                <c:pt idx="238">
                  <c:v>717</c:v>
                </c:pt>
                <c:pt idx="239">
                  <c:v>402</c:v>
                </c:pt>
                <c:pt idx="240">
                  <c:v>461</c:v>
                </c:pt>
                <c:pt idx="241">
                  <c:v>2750</c:v>
                </c:pt>
                <c:pt idx="242">
                  <c:v>12415</c:v>
                </c:pt>
                <c:pt idx="243">
                  <c:v>2656</c:v>
                </c:pt>
                <c:pt idx="244">
                  <c:v>1438</c:v>
                </c:pt>
                <c:pt idx="245">
                  <c:v>842</c:v>
                </c:pt>
                <c:pt idx="246">
                  <c:v>214</c:v>
                </c:pt>
                <c:pt idx="247">
                  <c:v>1819</c:v>
                </c:pt>
                <c:pt idx="248">
                  <c:v>7791</c:v>
                </c:pt>
                <c:pt idx="249">
                  <c:v>67227</c:v>
                </c:pt>
                <c:pt idx="250">
                  <c:v>43003</c:v>
                </c:pt>
                <c:pt idx="251">
                  <c:v>30951</c:v>
                </c:pt>
                <c:pt idx="252">
                  <c:v>17252</c:v>
                </c:pt>
                <c:pt idx="253">
                  <c:v>11673</c:v>
                </c:pt>
                <c:pt idx="254">
                  <c:v>4756</c:v>
                </c:pt>
                <c:pt idx="255">
                  <c:v>1938</c:v>
                </c:pt>
                <c:pt idx="256">
                  <c:v>2207</c:v>
                </c:pt>
                <c:pt idx="257">
                  <c:v>9931</c:v>
                </c:pt>
                <c:pt idx="258">
                  <c:v>8561</c:v>
                </c:pt>
                <c:pt idx="259">
                  <c:v>14125</c:v>
                </c:pt>
                <c:pt idx="260">
                  <c:v>10393</c:v>
                </c:pt>
                <c:pt idx="261">
                  <c:v>9243</c:v>
                </c:pt>
                <c:pt idx="262">
                  <c:v>4763</c:v>
                </c:pt>
                <c:pt idx="263">
                  <c:v>4978</c:v>
                </c:pt>
                <c:pt idx="264">
                  <c:v>8827</c:v>
                </c:pt>
                <c:pt idx="265">
                  <c:v>12230</c:v>
                </c:pt>
                <c:pt idx="266">
                  <c:v>12226</c:v>
                </c:pt>
                <c:pt idx="267">
                  <c:v>10387</c:v>
                </c:pt>
                <c:pt idx="268">
                  <c:v>7978</c:v>
                </c:pt>
                <c:pt idx="269">
                  <c:v>6646</c:v>
                </c:pt>
                <c:pt idx="270">
                  <c:v>5766</c:v>
                </c:pt>
                <c:pt idx="271">
                  <c:v>4716</c:v>
                </c:pt>
                <c:pt idx="272">
                  <c:v>1543</c:v>
                </c:pt>
                <c:pt idx="273">
                  <c:v>1495</c:v>
                </c:pt>
                <c:pt idx="274">
                  <c:v>4677</c:v>
                </c:pt>
                <c:pt idx="275">
                  <c:v>4694</c:v>
                </c:pt>
                <c:pt idx="276">
                  <c:v>3673</c:v>
                </c:pt>
                <c:pt idx="277">
                  <c:v>8351</c:v>
                </c:pt>
                <c:pt idx="278">
                  <c:v>3333</c:v>
                </c:pt>
                <c:pt idx="279">
                  <c:v>5102</c:v>
                </c:pt>
                <c:pt idx="280">
                  <c:v>3560</c:v>
                </c:pt>
                <c:pt idx="281">
                  <c:v>4212</c:v>
                </c:pt>
                <c:pt idx="282">
                  <c:v>3255</c:v>
                </c:pt>
                <c:pt idx="283">
                  <c:v>2712</c:v>
                </c:pt>
                <c:pt idx="284">
                  <c:v>2774</c:v>
                </c:pt>
                <c:pt idx="285">
                  <c:v>1434</c:v>
                </c:pt>
                <c:pt idx="286">
                  <c:v>1137</c:v>
                </c:pt>
                <c:pt idx="287">
                  <c:v>1857</c:v>
                </c:pt>
                <c:pt idx="288">
                  <c:v>1312</c:v>
                </c:pt>
                <c:pt idx="289">
                  <c:v>1355</c:v>
                </c:pt>
                <c:pt idx="290">
                  <c:v>932</c:v>
                </c:pt>
                <c:pt idx="291">
                  <c:v>952</c:v>
                </c:pt>
                <c:pt idx="292">
                  <c:v>610</c:v>
                </c:pt>
                <c:pt idx="293">
                  <c:v>8564</c:v>
                </c:pt>
                <c:pt idx="294">
                  <c:v>8166</c:v>
                </c:pt>
                <c:pt idx="295">
                  <c:v>12786</c:v>
                </c:pt>
                <c:pt idx="296">
                  <c:v>12294</c:v>
                </c:pt>
                <c:pt idx="297">
                  <c:v>10755</c:v>
                </c:pt>
                <c:pt idx="298">
                  <c:v>8245</c:v>
                </c:pt>
                <c:pt idx="299">
                  <c:v>19647</c:v>
                </c:pt>
                <c:pt idx="300">
                  <c:v>9430</c:v>
                </c:pt>
                <c:pt idx="301">
                  <c:v>9069</c:v>
                </c:pt>
                <c:pt idx="302">
                  <c:v>8164</c:v>
                </c:pt>
                <c:pt idx="303">
                  <c:v>8930</c:v>
                </c:pt>
                <c:pt idx="304">
                  <c:v>10502</c:v>
                </c:pt>
                <c:pt idx="305">
                  <c:v>6735</c:v>
                </c:pt>
                <c:pt idx="306">
                  <c:v>6509</c:v>
                </c:pt>
                <c:pt idx="307">
                  <c:v>4922</c:v>
                </c:pt>
                <c:pt idx="308">
                  <c:v>9975</c:v>
                </c:pt>
                <c:pt idx="309">
                  <c:v>8802</c:v>
                </c:pt>
                <c:pt idx="310">
                  <c:v>9045</c:v>
                </c:pt>
                <c:pt idx="311">
                  <c:v>9040</c:v>
                </c:pt>
                <c:pt idx="312">
                  <c:v>11327</c:v>
                </c:pt>
                <c:pt idx="313">
                  <c:v>10391</c:v>
                </c:pt>
                <c:pt idx="314">
                  <c:v>51541</c:v>
                </c:pt>
                <c:pt idx="315">
                  <c:v>8428</c:v>
                </c:pt>
                <c:pt idx="316">
                  <c:v>8900</c:v>
                </c:pt>
                <c:pt idx="317">
                  <c:v>9845</c:v>
                </c:pt>
                <c:pt idx="318">
                  <c:v>11418</c:v>
                </c:pt>
                <c:pt idx="319">
                  <c:v>10507</c:v>
                </c:pt>
                <c:pt idx="320">
                  <c:v>10148</c:v>
                </c:pt>
                <c:pt idx="321">
                  <c:v>10981</c:v>
                </c:pt>
                <c:pt idx="322">
                  <c:v>10156</c:v>
                </c:pt>
                <c:pt idx="323">
                  <c:v>10058</c:v>
                </c:pt>
                <c:pt idx="324">
                  <c:v>9423</c:v>
                </c:pt>
                <c:pt idx="325">
                  <c:v>10059</c:v>
                </c:pt>
                <c:pt idx="326">
                  <c:v>9728</c:v>
                </c:pt>
                <c:pt idx="327">
                  <c:v>10050</c:v>
                </c:pt>
                <c:pt idx="328">
                  <c:v>10087</c:v>
                </c:pt>
                <c:pt idx="329">
                  <c:v>43508</c:v>
                </c:pt>
                <c:pt idx="330">
                  <c:v>8715</c:v>
                </c:pt>
                <c:pt idx="331">
                  <c:v>7748</c:v>
                </c:pt>
                <c:pt idx="332">
                  <c:v>9564</c:v>
                </c:pt>
                <c:pt idx="333">
                  <c:v>8262</c:v>
                </c:pt>
                <c:pt idx="334">
                  <c:v>8214</c:v>
                </c:pt>
                <c:pt idx="335">
                  <c:v>9877</c:v>
                </c:pt>
                <c:pt idx="336">
                  <c:v>9042</c:v>
                </c:pt>
                <c:pt idx="337">
                  <c:v>8718</c:v>
                </c:pt>
                <c:pt idx="338">
                  <c:v>9008</c:v>
                </c:pt>
                <c:pt idx="339">
                  <c:v>11044</c:v>
                </c:pt>
                <c:pt idx="340">
                  <c:v>12027</c:v>
                </c:pt>
                <c:pt idx="341">
                  <c:v>37584</c:v>
                </c:pt>
                <c:pt idx="342">
                  <c:v>14242</c:v>
                </c:pt>
                <c:pt idx="343">
                  <c:v>10555</c:v>
                </c:pt>
                <c:pt idx="344">
                  <c:v>40444</c:v>
                </c:pt>
                <c:pt idx="345">
                  <c:v>9732</c:v>
                </c:pt>
                <c:pt idx="346">
                  <c:v>9995</c:v>
                </c:pt>
                <c:pt idx="347">
                  <c:v>10606</c:v>
                </c:pt>
                <c:pt idx="348">
                  <c:v>10891</c:v>
                </c:pt>
                <c:pt idx="349">
                  <c:v>11782</c:v>
                </c:pt>
                <c:pt idx="350">
                  <c:v>15552</c:v>
                </c:pt>
                <c:pt idx="351">
                  <c:v>12791</c:v>
                </c:pt>
                <c:pt idx="352">
                  <c:v>11001</c:v>
                </c:pt>
                <c:pt idx="353">
                  <c:v>12270</c:v>
                </c:pt>
                <c:pt idx="354">
                  <c:v>13700</c:v>
                </c:pt>
                <c:pt idx="355">
                  <c:v>11597</c:v>
                </c:pt>
                <c:pt idx="356">
                  <c:v>16787</c:v>
                </c:pt>
                <c:pt idx="357">
                  <c:v>12249</c:v>
                </c:pt>
                <c:pt idx="358">
                  <c:v>9192</c:v>
                </c:pt>
                <c:pt idx="359">
                  <c:v>9787</c:v>
                </c:pt>
                <c:pt idx="360">
                  <c:v>8850</c:v>
                </c:pt>
                <c:pt idx="361">
                  <c:v>10163</c:v>
                </c:pt>
                <c:pt idx="362">
                  <c:v>9761</c:v>
                </c:pt>
                <c:pt idx="363">
                  <c:v>11108</c:v>
                </c:pt>
                <c:pt idx="364">
                  <c:v>10053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45048623"/>
        <c:axId val="1845051535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Revenu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General</c:formatCode>
                <c:ptCount val="365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dateAx>
        <c:axId val="-955199408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 val="autoZero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Revenue (in USD)</a:t>
                </a:r>
                <a:endParaRPr lang="en-IN" b="1"/>
              </a:p>
            </c:rich>
          </c:tx>
          <c:layout>
            <c:manualLayout>
              <c:xMode val="edge"/>
              <c:yMode val="edge"/>
              <c:x val="1.7067833942136307E-2"/>
              <c:y val="0.214663826403764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1845051535"/>
        <c:scaling>
          <c:orientation val="minMax"/>
          <c:max val="2000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 i="0" kern="1200" baseline="0" dirty="0">
                    <a:solidFill>
                      <a:srgbClr val="000000"/>
                    </a:solidFill>
                    <a:effectLst/>
                  </a:rPr>
                  <a:t>Non-Social Video Impressions (‘000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5048623"/>
        <c:crosses val="max"/>
        <c:crossBetween val="between"/>
        <c:dispUnits>
          <c:builtInUnit val="thousands"/>
        </c:dispUnits>
      </c:valAx>
      <c:dateAx>
        <c:axId val="1845048623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45051535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677907955522532"/>
          <c:y val="0.89640992560702837"/>
          <c:w val="0.26644184088954936"/>
          <c:h val="6.44093085870944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/>
              <a:t>Chief</a:t>
            </a:r>
            <a:r>
              <a:rPr lang="en-US" sz="1400" b="1" baseline="0" dirty="0"/>
              <a:t> Almighty Vs. </a:t>
            </a:r>
            <a:r>
              <a:rPr lang="en-US" sz="1400" b="1" dirty="0"/>
              <a:t>Competitors</a:t>
            </a:r>
            <a:r>
              <a:rPr lang="en-US" sz="1400" b="1" baseline="0" dirty="0"/>
              <a:t> Revenue</a:t>
            </a:r>
            <a:endParaRPr lang="en-US" sz="14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647250685203459E-2"/>
          <c:y val="0.1110100897260959"/>
          <c:w val="0.85009385801103066"/>
          <c:h val="0.58994024767250741"/>
        </c:manualLayout>
      </c:layou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hief Almighty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General</c:formatCode>
                <c:ptCount val="365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941-4C38-820B-4E48CA645C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ise Of Empires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#,##0</c:formatCode>
                <c:ptCount val="365"/>
                <c:pt idx="0">
                  <c:v>28521</c:v>
                </c:pt>
                <c:pt idx="1">
                  <c:v>24549</c:v>
                </c:pt>
                <c:pt idx="2">
                  <c:v>25242</c:v>
                </c:pt>
                <c:pt idx="3">
                  <c:v>23591</c:v>
                </c:pt>
                <c:pt idx="4">
                  <c:v>23718</c:v>
                </c:pt>
                <c:pt idx="5">
                  <c:v>29934</c:v>
                </c:pt>
                <c:pt idx="6">
                  <c:v>30864</c:v>
                </c:pt>
                <c:pt idx="7">
                  <c:v>30381</c:v>
                </c:pt>
                <c:pt idx="8">
                  <c:v>30688</c:v>
                </c:pt>
                <c:pt idx="9">
                  <c:v>30479</c:v>
                </c:pt>
                <c:pt idx="10">
                  <c:v>28567</c:v>
                </c:pt>
                <c:pt idx="11">
                  <c:v>32755</c:v>
                </c:pt>
                <c:pt idx="12">
                  <c:v>34880</c:v>
                </c:pt>
                <c:pt idx="13">
                  <c:v>32966</c:v>
                </c:pt>
                <c:pt idx="14">
                  <c:v>41106</c:v>
                </c:pt>
                <c:pt idx="15">
                  <c:v>34739</c:v>
                </c:pt>
                <c:pt idx="16">
                  <c:v>40354</c:v>
                </c:pt>
                <c:pt idx="17">
                  <c:v>27368</c:v>
                </c:pt>
                <c:pt idx="18">
                  <c:v>30720</c:v>
                </c:pt>
                <c:pt idx="19">
                  <c:v>40689</c:v>
                </c:pt>
                <c:pt idx="20">
                  <c:v>33022</c:v>
                </c:pt>
                <c:pt idx="21">
                  <c:v>36020</c:v>
                </c:pt>
                <c:pt idx="22">
                  <c:v>29648</c:v>
                </c:pt>
                <c:pt idx="23">
                  <c:v>32036</c:v>
                </c:pt>
                <c:pt idx="24">
                  <c:v>30262</c:v>
                </c:pt>
                <c:pt idx="25">
                  <c:v>40155</c:v>
                </c:pt>
                <c:pt idx="26">
                  <c:v>37196</c:v>
                </c:pt>
                <c:pt idx="27">
                  <c:v>43266</c:v>
                </c:pt>
                <c:pt idx="28">
                  <c:v>39210</c:v>
                </c:pt>
                <c:pt idx="29">
                  <c:v>40815</c:v>
                </c:pt>
                <c:pt idx="30">
                  <c:v>39373</c:v>
                </c:pt>
                <c:pt idx="31">
                  <c:v>34610</c:v>
                </c:pt>
                <c:pt idx="32">
                  <c:v>37979</c:v>
                </c:pt>
                <c:pt idx="33">
                  <c:v>33203</c:v>
                </c:pt>
                <c:pt idx="34">
                  <c:v>31949</c:v>
                </c:pt>
                <c:pt idx="35">
                  <c:v>41767</c:v>
                </c:pt>
                <c:pt idx="36">
                  <c:v>37385</c:v>
                </c:pt>
                <c:pt idx="37">
                  <c:v>33205</c:v>
                </c:pt>
                <c:pt idx="38">
                  <c:v>27736</c:v>
                </c:pt>
                <c:pt idx="39">
                  <c:v>34718</c:v>
                </c:pt>
                <c:pt idx="40">
                  <c:v>33106</c:v>
                </c:pt>
                <c:pt idx="41">
                  <c:v>37278</c:v>
                </c:pt>
                <c:pt idx="42">
                  <c:v>46588</c:v>
                </c:pt>
                <c:pt idx="43">
                  <c:v>43038</c:v>
                </c:pt>
                <c:pt idx="44">
                  <c:v>37707</c:v>
                </c:pt>
                <c:pt idx="45">
                  <c:v>34366</c:v>
                </c:pt>
                <c:pt idx="46">
                  <c:v>32070</c:v>
                </c:pt>
                <c:pt idx="47">
                  <c:v>29734</c:v>
                </c:pt>
                <c:pt idx="48">
                  <c:v>31373</c:v>
                </c:pt>
                <c:pt idx="49">
                  <c:v>42627</c:v>
                </c:pt>
                <c:pt idx="50">
                  <c:v>34913</c:v>
                </c:pt>
                <c:pt idx="51">
                  <c:v>27696</c:v>
                </c:pt>
                <c:pt idx="52">
                  <c:v>30811</c:v>
                </c:pt>
                <c:pt idx="53">
                  <c:v>33703</c:v>
                </c:pt>
                <c:pt idx="54">
                  <c:v>33591</c:v>
                </c:pt>
                <c:pt idx="55">
                  <c:v>29873</c:v>
                </c:pt>
                <c:pt idx="56">
                  <c:v>30569</c:v>
                </c:pt>
                <c:pt idx="57">
                  <c:v>33390</c:v>
                </c:pt>
                <c:pt idx="58">
                  <c:v>27793</c:v>
                </c:pt>
                <c:pt idx="59">
                  <c:v>29645</c:v>
                </c:pt>
                <c:pt idx="60">
                  <c:v>26030</c:v>
                </c:pt>
                <c:pt idx="61">
                  <c:v>36555</c:v>
                </c:pt>
                <c:pt idx="62">
                  <c:v>29247</c:v>
                </c:pt>
                <c:pt idx="63">
                  <c:v>38778</c:v>
                </c:pt>
                <c:pt idx="64">
                  <c:v>33527</c:v>
                </c:pt>
                <c:pt idx="65">
                  <c:v>35676</c:v>
                </c:pt>
                <c:pt idx="66">
                  <c:v>28645</c:v>
                </c:pt>
                <c:pt idx="67">
                  <c:v>26717</c:v>
                </c:pt>
                <c:pt idx="68">
                  <c:v>29249</c:v>
                </c:pt>
                <c:pt idx="69">
                  <c:v>37525</c:v>
                </c:pt>
                <c:pt idx="70">
                  <c:v>43582</c:v>
                </c:pt>
                <c:pt idx="71">
                  <c:v>41680</c:v>
                </c:pt>
                <c:pt idx="72">
                  <c:v>28514</c:v>
                </c:pt>
                <c:pt idx="73">
                  <c:v>28126</c:v>
                </c:pt>
                <c:pt idx="74">
                  <c:v>32699</c:v>
                </c:pt>
                <c:pt idx="75">
                  <c:v>33786</c:v>
                </c:pt>
                <c:pt idx="76">
                  <c:v>32928</c:v>
                </c:pt>
                <c:pt idx="77">
                  <c:v>44757</c:v>
                </c:pt>
                <c:pt idx="78">
                  <c:v>32510</c:v>
                </c:pt>
                <c:pt idx="79">
                  <c:v>35533</c:v>
                </c:pt>
                <c:pt idx="80">
                  <c:v>29962</c:v>
                </c:pt>
                <c:pt idx="81">
                  <c:v>28205</c:v>
                </c:pt>
                <c:pt idx="82">
                  <c:v>33749</c:v>
                </c:pt>
                <c:pt idx="83">
                  <c:v>40835</c:v>
                </c:pt>
                <c:pt idx="84">
                  <c:v>40318</c:v>
                </c:pt>
                <c:pt idx="85">
                  <c:v>34282</c:v>
                </c:pt>
                <c:pt idx="86">
                  <c:v>31058</c:v>
                </c:pt>
                <c:pt idx="87">
                  <c:v>33398</c:v>
                </c:pt>
                <c:pt idx="88">
                  <c:v>35273</c:v>
                </c:pt>
                <c:pt idx="89">
                  <c:v>34843</c:v>
                </c:pt>
                <c:pt idx="90">
                  <c:v>35747</c:v>
                </c:pt>
                <c:pt idx="91">
                  <c:v>41012</c:v>
                </c:pt>
                <c:pt idx="92">
                  <c:v>44506</c:v>
                </c:pt>
                <c:pt idx="93">
                  <c:v>37873</c:v>
                </c:pt>
                <c:pt idx="94">
                  <c:v>33218</c:v>
                </c:pt>
                <c:pt idx="95">
                  <c:v>39956</c:v>
                </c:pt>
                <c:pt idx="96">
                  <c:v>40094</c:v>
                </c:pt>
                <c:pt idx="97">
                  <c:v>38021</c:v>
                </c:pt>
                <c:pt idx="98">
                  <c:v>48399</c:v>
                </c:pt>
                <c:pt idx="99">
                  <c:v>43444</c:v>
                </c:pt>
                <c:pt idx="100">
                  <c:v>42527</c:v>
                </c:pt>
                <c:pt idx="101">
                  <c:v>34920</c:v>
                </c:pt>
                <c:pt idx="102">
                  <c:v>35382</c:v>
                </c:pt>
                <c:pt idx="103">
                  <c:v>38151</c:v>
                </c:pt>
                <c:pt idx="104">
                  <c:v>38745</c:v>
                </c:pt>
                <c:pt idx="105">
                  <c:v>50565</c:v>
                </c:pt>
                <c:pt idx="106">
                  <c:v>43636</c:v>
                </c:pt>
                <c:pt idx="107">
                  <c:v>37126</c:v>
                </c:pt>
                <c:pt idx="108">
                  <c:v>34150</c:v>
                </c:pt>
                <c:pt idx="109">
                  <c:v>34192</c:v>
                </c:pt>
                <c:pt idx="110">
                  <c:v>32700</c:v>
                </c:pt>
                <c:pt idx="111">
                  <c:v>39892</c:v>
                </c:pt>
                <c:pt idx="112">
                  <c:v>44898</c:v>
                </c:pt>
                <c:pt idx="113">
                  <c:v>45084</c:v>
                </c:pt>
                <c:pt idx="114">
                  <c:v>38422</c:v>
                </c:pt>
                <c:pt idx="115">
                  <c:v>33794</c:v>
                </c:pt>
                <c:pt idx="116">
                  <c:v>36868</c:v>
                </c:pt>
                <c:pt idx="117">
                  <c:v>39423</c:v>
                </c:pt>
                <c:pt idx="118">
                  <c:v>40863</c:v>
                </c:pt>
                <c:pt idx="119">
                  <c:v>48348</c:v>
                </c:pt>
                <c:pt idx="120">
                  <c:v>43057</c:v>
                </c:pt>
                <c:pt idx="121">
                  <c:v>40401</c:v>
                </c:pt>
                <c:pt idx="122">
                  <c:v>31480</c:v>
                </c:pt>
                <c:pt idx="123">
                  <c:v>38394</c:v>
                </c:pt>
                <c:pt idx="124">
                  <c:v>39446</c:v>
                </c:pt>
                <c:pt idx="125">
                  <c:v>37148</c:v>
                </c:pt>
                <c:pt idx="126">
                  <c:v>45835</c:v>
                </c:pt>
                <c:pt idx="127">
                  <c:v>40894</c:v>
                </c:pt>
                <c:pt idx="128">
                  <c:v>34224</c:v>
                </c:pt>
                <c:pt idx="129">
                  <c:v>35223</c:v>
                </c:pt>
                <c:pt idx="130">
                  <c:v>32140</c:v>
                </c:pt>
                <c:pt idx="131">
                  <c:v>34373</c:v>
                </c:pt>
                <c:pt idx="132">
                  <c:v>40339</c:v>
                </c:pt>
                <c:pt idx="133">
                  <c:v>46704</c:v>
                </c:pt>
                <c:pt idx="134">
                  <c:v>37127</c:v>
                </c:pt>
                <c:pt idx="135">
                  <c:v>32704</c:v>
                </c:pt>
                <c:pt idx="136">
                  <c:v>31252</c:v>
                </c:pt>
                <c:pt idx="137">
                  <c:v>38326</c:v>
                </c:pt>
                <c:pt idx="138">
                  <c:v>32563</c:v>
                </c:pt>
                <c:pt idx="139">
                  <c:v>33305</c:v>
                </c:pt>
                <c:pt idx="140">
                  <c:v>42783</c:v>
                </c:pt>
                <c:pt idx="141">
                  <c:v>39557</c:v>
                </c:pt>
                <c:pt idx="142">
                  <c:v>38739</c:v>
                </c:pt>
                <c:pt idx="143">
                  <c:v>30683</c:v>
                </c:pt>
                <c:pt idx="144">
                  <c:v>28075</c:v>
                </c:pt>
                <c:pt idx="145">
                  <c:v>37752</c:v>
                </c:pt>
                <c:pt idx="146">
                  <c:v>41751</c:v>
                </c:pt>
                <c:pt idx="147">
                  <c:v>45161</c:v>
                </c:pt>
                <c:pt idx="148">
                  <c:v>41391</c:v>
                </c:pt>
                <c:pt idx="149">
                  <c:v>43484</c:v>
                </c:pt>
                <c:pt idx="150">
                  <c:v>49148</c:v>
                </c:pt>
                <c:pt idx="151">
                  <c:v>41813</c:v>
                </c:pt>
                <c:pt idx="152">
                  <c:v>44633</c:v>
                </c:pt>
                <c:pt idx="153">
                  <c:v>48440</c:v>
                </c:pt>
                <c:pt idx="154">
                  <c:v>54147</c:v>
                </c:pt>
                <c:pt idx="155">
                  <c:v>48034</c:v>
                </c:pt>
                <c:pt idx="156">
                  <c:v>47128</c:v>
                </c:pt>
                <c:pt idx="157">
                  <c:v>44532</c:v>
                </c:pt>
                <c:pt idx="158">
                  <c:v>41517</c:v>
                </c:pt>
                <c:pt idx="159">
                  <c:v>46096</c:v>
                </c:pt>
                <c:pt idx="160">
                  <c:v>49280</c:v>
                </c:pt>
                <c:pt idx="161">
                  <c:v>57213</c:v>
                </c:pt>
                <c:pt idx="162">
                  <c:v>47500</c:v>
                </c:pt>
                <c:pt idx="163">
                  <c:v>43683</c:v>
                </c:pt>
                <c:pt idx="164">
                  <c:v>40962</c:v>
                </c:pt>
                <c:pt idx="165">
                  <c:v>47835</c:v>
                </c:pt>
                <c:pt idx="166">
                  <c:v>64128</c:v>
                </c:pt>
                <c:pt idx="167">
                  <c:v>68863</c:v>
                </c:pt>
                <c:pt idx="168">
                  <c:v>61959</c:v>
                </c:pt>
                <c:pt idx="169">
                  <c:v>58166</c:v>
                </c:pt>
                <c:pt idx="170">
                  <c:v>57489</c:v>
                </c:pt>
                <c:pt idx="171">
                  <c:v>53253</c:v>
                </c:pt>
                <c:pt idx="172">
                  <c:v>44936</c:v>
                </c:pt>
                <c:pt idx="173">
                  <c:v>53501</c:v>
                </c:pt>
                <c:pt idx="174">
                  <c:v>59478</c:v>
                </c:pt>
                <c:pt idx="175">
                  <c:v>55271</c:v>
                </c:pt>
                <c:pt idx="176">
                  <c:v>56430</c:v>
                </c:pt>
                <c:pt idx="177">
                  <c:v>58317</c:v>
                </c:pt>
                <c:pt idx="178">
                  <c:v>48374</c:v>
                </c:pt>
                <c:pt idx="179">
                  <c:v>50636</c:v>
                </c:pt>
                <c:pt idx="180">
                  <c:v>56513</c:v>
                </c:pt>
                <c:pt idx="181">
                  <c:v>72661</c:v>
                </c:pt>
                <c:pt idx="182">
                  <c:v>76430</c:v>
                </c:pt>
                <c:pt idx="183">
                  <c:v>87915</c:v>
                </c:pt>
                <c:pt idx="184">
                  <c:v>76690</c:v>
                </c:pt>
                <c:pt idx="185">
                  <c:v>56742</c:v>
                </c:pt>
                <c:pt idx="186">
                  <c:v>64408</c:v>
                </c:pt>
                <c:pt idx="187">
                  <c:v>62022</c:v>
                </c:pt>
                <c:pt idx="188">
                  <c:v>62440</c:v>
                </c:pt>
                <c:pt idx="189">
                  <c:v>69224</c:v>
                </c:pt>
                <c:pt idx="190">
                  <c:v>59990</c:v>
                </c:pt>
                <c:pt idx="191">
                  <c:v>60896</c:v>
                </c:pt>
                <c:pt idx="192">
                  <c:v>52901</c:v>
                </c:pt>
                <c:pt idx="193">
                  <c:v>52690</c:v>
                </c:pt>
                <c:pt idx="194">
                  <c:v>55624</c:v>
                </c:pt>
                <c:pt idx="195">
                  <c:v>68149</c:v>
                </c:pt>
                <c:pt idx="196">
                  <c:v>74695</c:v>
                </c:pt>
                <c:pt idx="197">
                  <c:v>59752</c:v>
                </c:pt>
                <c:pt idx="198">
                  <c:v>59485</c:v>
                </c:pt>
                <c:pt idx="199">
                  <c:v>50148</c:v>
                </c:pt>
                <c:pt idx="200">
                  <c:v>52140</c:v>
                </c:pt>
                <c:pt idx="201">
                  <c:v>49378</c:v>
                </c:pt>
                <c:pt idx="202">
                  <c:v>65809</c:v>
                </c:pt>
                <c:pt idx="203">
                  <c:v>69316</c:v>
                </c:pt>
                <c:pt idx="204">
                  <c:v>62053</c:v>
                </c:pt>
                <c:pt idx="205">
                  <c:v>64535</c:v>
                </c:pt>
                <c:pt idx="206">
                  <c:v>56931</c:v>
                </c:pt>
                <c:pt idx="207">
                  <c:v>50563</c:v>
                </c:pt>
                <c:pt idx="208">
                  <c:v>54667</c:v>
                </c:pt>
                <c:pt idx="209">
                  <c:v>76545</c:v>
                </c:pt>
                <c:pt idx="210">
                  <c:v>79789</c:v>
                </c:pt>
                <c:pt idx="211">
                  <c:v>67439</c:v>
                </c:pt>
                <c:pt idx="212">
                  <c:v>66582</c:v>
                </c:pt>
                <c:pt idx="213">
                  <c:v>68884</c:v>
                </c:pt>
                <c:pt idx="214">
                  <c:v>65082</c:v>
                </c:pt>
                <c:pt idx="215">
                  <c:v>67164</c:v>
                </c:pt>
                <c:pt idx="216">
                  <c:v>71355</c:v>
                </c:pt>
                <c:pt idx="217">
                  <c:v>69192</c:v>
                </c:pt>
                <c:pt idx="218">
                  <c:v>62837</c:v>
                </c:pt>
                <c:pt idx="219">
                  <c:v>73380</c:v>
                </c:pt>
                <c:pt idx="220">
                  <c:v>60042</c:v>
                </c:pt>
                <c:pt idx="221">
                  <c:v>53528</c:v>
                </c:pt>
                <c:pt idx="222">
                  <c:v>56692</c:v>
                </c:pt>
                <c:pt idx="223">
                  <c:v>71382</c:v>
                </c:pt>
                <c:pt idx="224">
                  <c:v>84888</c:v>
                </c:pt>
                <c:pt idx="225">
                  <c:v>81296</c:v>
                </c:pt>
                <c:pt idx="226">
                  <c:v>64880</c:v>
                </c:pt>
                <c:pt idx="227">
                  <c:v>68333</c:v>
                </c:pt>
                <c:pt idx="228">
                  <c:v>48640</c:v>
                </c:pt>
                <c:pt idx="229">
                  <c:v>56333</c:v>
                </c:pt>
                <c:pt idx="230">
                  <c:v>79788</c:v>
                </c:pt>
                <c:pt idx="231">
                  <c:v>68313</c:v>
                </c:pt>
                <c:pt idx="232">
                  <c:v>68642</c:v>
                </c:pt>
                <c:pt idx="233">
                  <c:v>70315</c:v>
                </c:pt>
                <c:pt idx="234">
                  <c:v>52303</c:v>
                </c:pt>
                <c:pt idx="235">
                  <c:v>50819</c:v>
                </c:pt>
                <c:pt idx="236">
                  <c:v>72219</c:v>
                </c:pt>
                <c:pt idx="237">
                  <c:v>99825</c:v>
                </c:pt>
                <c:pt idx="238">
                  <c:v>92032</c:v>
                </c:pt>
                <c:pt idx="239">
                  <c:v>61398</c:v>
                </c:pt>
                <c:pt idx="240">
                  <c:v>78114</c:v>
                </c:pt>
                <c:pt idx="241">
                  <c:v>62534</c:v>
                </c:pt>
                <c:pt idx="242">
                  <c:v>66837</c:v>
                </c:pt>
                <c:pt idx="243">
                  <c:v>73810</c:v>
                </c:pt>
                <c:pt idx="244">
                  <c:v>75304</c:v>
                </c:pt>
                <c:pt idx="245">
                  <c:v>91706</c:v>
                </c:pt>
                <c:pt idx="246">
                  <c:v>79113</c:v>
                </c:pt>
                <c:pt idx="247">
                  <c:v>60615</c:v>
                </c:pt>
                <c:pt idx="248">
                  <c:v>51248</c:v>
                </c:pt>
                <c:pt idx="249">
                  <c:v>59125</c:v>
                </c:pt>
                <c:pt idx="250">
                  <c:v>54234</c:v>
                </c:pt>
                <c:pt idx="251">
                  <c:v>65627</c:v>
                </c:pt>
                <c:pt idx="252">
                  <c:v>85712</c:v>
                </c:pt>
                <c:pt idx="253">
                  <c:v>69045</c:v>
                </c:pt>
                <c:pt idx="254">
                  <c:v>62277</c:v>
                </c:pt>
                <c:pt idx="255">
                  <c:v>60058</c:v>
                </c:pt>
                <c:pt idx="256">
                  <c:v>58237</c:v>
                </c:pt>
                <c:pt idx="257">
                  <c:v>70344</c:v>
                </c:pt>
                <c:pt idx="258">
                  <c:v>93776</c:v>
                </c:pt>
                <c:pt idx="259">
                  <c:v>85733</c:v>
                </c:pt>
                <c:pt idx="260">
                  <c:v>78157</c:v>
                </c:pt>
                <c:pt idx="261">
                  <c:v>70160</c:v>
                </c:pt>
                <c:pt idx="262">
                  <c:v>60908</c:v>
                </c:pt>
                <c:pt idx="263">
                  <c:v>63085</c:v>
                </c:pt>
                <c:pt idx="264">
                  <c:v>66446</c:v>
                </c:pt>
                <c:pt idx="265">
                  <c:v>80792</c:v>
                </c:pt>
                <c:pt idx="266">
                  <c:v>105635</c:v>
                </c:pt>
                <c:pt idx="267">
                  <c:v>93309</c:v>
                </c:pt>
                <c:pt idx="268">
                  <c:v>85524</c:v>
                </c:pt>
                <c:pt idx="269">
                  <c:v>85387</c:v>
                </c:pt>
                <c:pt idx="270">
                  <c:v>71347</c:v>
                </c:pt>
                <c:pt idx="271">
                  <c:v>89207</c:v>
                </c:pt>
                <c:pt idx="272">
                  <c:v>107466</c:v>
                </c:pt>
                <c:pt idx="273">
                  <c:v>94776</c:v>
                </c:pt>
                <c:pt idx="274">
                  <c:v>94058</c:v>
                </c:pt>
                <c:pt idx="275">
                  <c:v>96805</c:v>
                </c:pt>
                <c:pt idx="276">
                  <c:v>82920</c:v>
                </c:pt>
                <c:pt idx="277">
                  <c:v>76207</c:v>
                </c:pt>
                <c:pt idx="278">
                  <c:v>83818</c:v>
                </c:pt>
                <c:pt idx="279">
                  <c:v>107653</c:v>
                </c:pt>
                <c:pt idx="280">
                  <c:v>112205</c:v>
                </c:pt>
                <c:pt idx="281">
                  <c:v>110545</c:v>
                </c:pt>
                <c:pt idx="282">
                  <c:v>103955</c:v>
                </c:pt>
                <c:pt idx="283">
                  <c:v>90749</c:v>
                </c:pt>
                <c:pt idx="284">
                  <c:v>88280</c:v>
                </c:pt>
                <c:pt idx="285">
                  <c:v>92439</c:v>
                </c:pt>
                <c:pt idx="286">
                  <c:v>106710</c:v>
                </c:pt>
                <c:pt idx="287">
                  <c:v>105794</c:v>
                </c:pt>
                <c:pt idx="288">
                  <c:v>103465</c:v>
                </c:pt>
                <c:pt idx="289">
                  <c:v>97532</c:v>
                </c:pt>
                <c:pt idx="290">
                  <c:v>87692</c:v>
                </c:pt>
                <c:pt idx="291">
                  <c:v>91040</c:v>
                </c:pt>
                <c:pt idx="292">
                  <c:v>111032</c:v>
                </c:pt>
                <c:pt idx="293">
                  <c:v>147853</c:v>
                </c:pt>
                <c:pt idx="294">
                  <c:v>140742</c:v>
                </c:pt>
                <c:pt idx="295">
                  <c:v>121413</c:v>
                </c:pt>
                <c:pt idx="296">
                  <c:v>110598</c:v>
                </c:pt>
                <c:pt idx="297">
                  <c:v>94937</c:v>
                </c:pt>
                <c:pt idx="298">
                  <c:v>89993</c:v>
                </c:pt>
                <c:pt idx="299">
                  <c:v>109129</c:v>
                </c:pt>
                <c:pt idx="300">
                  <c:v>153050</c:v>
                </c:pt>
                <c:pt idx="301">
                  <c:v>129421</c:v>
                </c:pt>
                <c:pt idx="302">
                  <c:v>113061</c:v>
                </c:pt>
                <c:pt idx="303">
                  <c:v>107658</c:v>
                </c:pt>
                <c:pt idx="304">
                  <c:v>84604</c:v>
                </c:pt>
                <c:pt idx="305">
                  <c:v>109142</c:v>
                </c:pt>
                <c:pt idx="306">
                  <c:v>100641</c:v>
                </c:pt>
                <c:pt idx="307">
                  <c:v>123302</c:v>
                </c:pt>
                <c:pt idx="308">
                  <c:v>144205</c:v>
                </c:pt>
                <c:pt idx="309">
                  <c:v>131963</c:v>
                </c:pt>
                <c:pt idx="310">
                  <c:v>124271</c:v>
                </c:pt>
                <c:pt idx="311">
                  <c:v>108180</c:v>
                </c:pt>
                <c:pt idx="312">
                  <c:v>138543</c:v>
                </c:pt>
                <c:pt idx="313">
                  <c:v>118707</c:v>
                </c:pt>
                <c:pt idx="314">
                  <c:v>142020</c:v>
                </c:pt>
                <c:pt idx="315">
                  <c:v>132356</c:v>
                </c:pt>
                <c:pt idx="316">
                  <c:v>127740</c:v>
                </c:pt>
                <c:pt idx="317">
                  <c:v>115508</c:v>
                </c:pt>
                <c:pt idx="318">
                  <c:v>99132</c:v>
                </c:pt>
                <c:pt idx="319">
                  <c:v>108461</c:v>
                </c:pt>
                <c:pt idx="320">
                  <c:v>104181</c:v>
                </c:pt>
                <c:pt idx="321">
                  <c:v>137244</c:v>
                </c:pt>
                <c:pt idx="322">
                  <c:v>169522</c:v>
                </c:pt>
                <c:pt idx="323">
                  <c:v>158780</c:v>
                </c:pt>
                <c:pt idx="324">
                  <c:v>126233</c:v>
                </c:pt>
                <c:pt idx="325">
                  <c:v>121095</c:v>
                </c:pt>
                <c:pt idx="326">
                  <c:v>110940</c:v>
                </c:pt>
                <c:pt idx="327">
                  <c:v>130177</c:v>
                </c:pt>
                <c:pt idx="328">
                  <c:v>174521</c:v>
                </c:pt>
                <c:pt idx="329">
                  <c:v>158059</c:v>
                </c:pt>
                <c:pt idx="330">
                  <c:v>137343</c:v>
                </c:pt>
                <c:pt idx="331">
                  <c:v>130556</c:v>
                </c:pt>
                <c:pt idx="332">
                  <c:v>118720</c:v>
                </c:pt>
                <c:pt idx="333">
                  <c:v>112737</c:v>
                </c:pt>
                <c:pt idx="334">
                  <c:v>124629</c:v>
                </c:pt>
                <c:pt idx="335">
                  <c:v>136082</c:v>
                </c:pt>
                <c:pt idx="336">
                  <c:v>151152</c:v>
                </c:pt>
                <c:pt idx="337">
                  <c:v>121710</c:v>
                </c:pt>
                <c:pt idx="338">
                  <c:v>120005</c:v>
                </c:pt>
                <c:pt idx="339">
                  <c:v>116499</c:v>
                </c:pt>
                <c:pt idx="340">
                  <c:v>121763</c:v>
                </c:pt>
                <c:pt idx="341">
                  <c:v>124438</c:v>
                </c:pt>
                <c:pt idx="342">
                  <c:v>156065</c:v>
                </c:pt>
                <c:pt idx="343">
                  <c:v>131907</c:v>
                </c:pt>
                <c:pt idx="344">
                  <c:v>144513</c:v>
                </c:pt>
                <c:pt idx="345">
                  <c:v>146184</c:v>
                </c:pt>
                <c:pt idx="346">
                  <c:v>130937</c:v>
                </c:pt>
                <c:pt idx="347">
                  <c:v>123630</c:v>
                </c:pt>
                <c:pt idx="348">
                  <c:v>136290</c:v>
                </c:pt>
                <c:pt idx="349">
                  <c:v>205925</c:v>
                </c:pt>
                <c:pt idx="350">
                  <c:v>196385</c:v>
                </c:pt>
                <c:pt idx="351">
                  <c:v>180564</c:v>
                </c:pt>
                <c:pt idx="352">
                  <c:v>176994</c:v>
                </c:pt>
                <c:pt idx="353">
                  <c:v>151564</c:v>
                </c:pt>
                <c:pt idx="354">
                  <c:v>230151</c:v>
                </c:pt>
                <c:pt idx="355">
                  <c:v>151460</c:v>
                </c:pt>
                <c:pt idx="356">
                  <c:v>176486</c:v>
                </c:pt>
                <c:pt idx="357">
                  <c:v>165471</c:v>
                </c:pt>
                <c:pt idx="358">
                  <c:v>149667</c:v>
                </c:pt>
                <c:pt idx="359">
                  <c:v>170393</c:v>
                </c:pt>
                <c:pt idx="360">
                  <c:v>140927</c:v>
                </c:pt>
                <c:pt idx="361">
                  <c:v>115336</c:v>
                </c:pt>
                <c:pt idx="362">
                  <c:v>124496</c:v>
                </c:pt>
                <c:pt idx="363">
                  <c:v>184002</c:v>
                </c:pt>
                <c:pt idx="364">
                  <c:v>17660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B941-4C38-820B-4E48CA645C2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ing Of Avalon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D$2:$D$366</c:f>
              <c:numCache>
                <c:formatCode>#,##0</c:formatCode>
                <c:ptCount val="365"/>
                <c:pt idx="0">
                  <c:v>235876</c:v>
                </c:pt>
                <c:pt idx="1">
                  <c:v>217952</c:v>
                </c:pt>
                <c:pt idx="2">
                  <c:v>172657</c:v>
                </c:pt>
                <c:pt idx="3">
                  <c:v>154223</c:v>
                </c:pt>
                <c:pt idx="4">
                  <c:v>95069</c:v>
                </c:pt>
                <c:pt idx="5">
                  <c:v>129045</c:v>
                </c:pt>
                <c:pt idx="6">
                  <c:v>214053</c:v>
                </c:pt>
                <c:pt idx="7">
                  <c:v>225090</c:v>
                </c:pt>
                <c:pt idx="8">
                  <c:v>216457</c:v>
                </c:pt>
                <c:pt idx="9">
                  <c:v>178491</c:v>
                </c:pt>
                <c:pt idx="10">
                  <c:v>156380</c:v>
                </c:pt>
                <c:pt idx="11">
                  <c:v>145566</c:v>
                </c:pt>
                <c:pt idx="12">
                  <c:v>165107</c:v>
                </c:pt>
                <c:pt idx="13">
                  <c:v>170203</c:v>
                </c:pt>
                <c:pt idx="14">
                  <c:v>188084</c:v>
                </c:pt>
                <c:pt idx="15">
                  <c:v>206678</c:v>
                </c:pt>
                <c:pt idx="16">
                  <c:v>216046</c:v>
                </c:pt>
                <c:pt idx="17">
                  <c:v>155205</c:v>
                </c:pt>
                <c:pt idx="18">
                  <c:v>141193</c:v>
                </c:pt>
                <c:pt idx="19">
                  <c:v>167135</c:v>
                </c:pt>
                <c:pt idx="20">
                  <c:v>218500</c:v>
                </c:pt>
                <c:pt idx="21">
                  <c:v>252462</c:v>
                </c:pt>
                <c:pt idx="22">
                  <c:v>256046</c:v>
                </c:pt>
                <c:pt idx="23">
                  <c:v>212481</c:v>
                </c:pt>
                <c:pt idx="24">
                  <c:v>160769</c:v>
                </c:pt>
                <c:pt idx="25">
                  <c:v>178857</c:v>
                </c:pt>
                <c:pt idx="26">
                  <c:v>279791</c:v>
                </c:pt>
                <c:pt idx="27">
                  <c:v>294657</c:v>
                </c:pt>
                <c:pt idx="28">
                  <c:v>262270</c:v>
                </c:pt>
                <c:pt idx="29">
                  <c:v>222708</c:v>
                </c:pt>
                <c:pt idx="30">
                  <c:v>195770</c:v>
                </c:pt>
                <c:pt idx="31">
                  <c:v>197261</c:v>
                </c:pt>
                <c:pt idx="32">
                  <c:v>156550</c:v>
                </c:pt>
                <c:pt idx="33">
                  <c:v>136434</c:v>
                </c:pt>
                <c:pt idx="34">
                  <c:v>202054</c:v>
                </c:pt>
                <c:pt idx="35">
                  <c:v>236866</c:v>
                </c:pt>
                <c:pt idx="36">
                  <c:v>206999</c:v>
                </c:pt>
                <c:pt idx="37">
                  <c:v>189247</c:v>
                </c:pt>
                <c:pt idx="38">
                  <c:v>122427</c:v>
                </c:pt>
                <c:pt idx="39">
                  <c:v>147577</c:v>
                </c:pt>
                <c:pt idx="40">
                  <c:v>185885</c:v>
                </c:pt>
                <c:pt idx="41">
                  <c:v>211548</c:v>
                </c:pt>
                <c:pt idx="42">
                  <c:v>204527</c:v>
                </c:pt>
                <c:pt idx="43">
                  <c:v>193005</c:v>
                </c:pt>
                <c:pt idx="44">
                  <c:v>179430</c:v>
                </c:pt>
                <c:pt idx="45">
                  <c:v>164457</c:v>
                </c:pt>
                <c:pt idx="46">
                  <c:v>168745</c:v>
                </c:pt>
                <c:pt idx="47">
                  <c:v>157753</c:v>
                </c:pt>
                <c:pt idx="48">
                  <c:v>180683</c:v>
                </c:pt>
                <c:pt idx="49">
                  <c:v>232113</c:v>
                </c:pt>
                <c:pt idx="50">
                  <c:v>209972</c:v>
                </c:pt>
                <c:pt idx="51">
                  <c:v>194841</c:v>
                </c:pt>
                <c:pt idx="52">
                  <c:v>166443</c:v>
                </c:pt>
                <c:pt idx="53">
                  <c:v>273817</c:v>
                </c:pt>
                <c:pt idx="54">
                  <c:v>261629</c:v>
                </c:pt>
                <c:pt idx="55">
                  <c:v>244063</c:v>
                </c:pt>
                <c:pt idx="56">
                  <c:v>292403</c:v>
                </c:pt>
                <c:pt idx="57">
                  <c:v>241898</c:v>
                </c:pt>
                <c:pt idx="58">
                  <c:v>231781</c:v>
                </c:pt>
                <c:pt idx="59">
                  <c:v>153251</c:v>
                </c:pt>
                <c:pt idx="60">
                  <c:v>176082</c:v>
                </c:pt>
                <c:pt idx="61">
                  <c:v>240654</c:v>
                </c:pt>
                <c:pt idx="62">
                  <c:v>267127</c:v>
                </c:pt>
                <c:pt idx="63">
                  <c:v>273274</c:v>
                </c:pt>
                <c:pt idx="64">
                  <c:v>248942</c:v>
                </c:pt>
                <c:pt idx="65">
                  <c:v>213810</c:v>
                </c:pt>
                <c:pt idx="66">
                  <c:v>164451</c:v>
                </c:pt>
                <c:pt idx="67">
                  <c:v>164166</c:v>
                </c:pt>
                <c:pt idx="68">
                  <c:v>160204</c:v>
                </c:pt>
                <c:pt idx="69">
                  <c:v>220828</c:v>
                </c:pt>
                <c:pt idx="70">
                  <c:v>189071</c:v>
                </c:pt>
                <c:pt idx="71">
                  <c:v>201692</c:v>
                </c:pt>
                <c:pt idx="72">
                  <c:v>154833</c:v>
                </c:pt>
                <c:pt idx="73">
                  <c:v>117636</c:v>
                </c:pt>
                <c:pt idx="74">
                  <c:v>139535</c:v>
                </c:pt>
                <c:pt idx="75">
                  <c:v>157496</c:v>
                </c:pt>
                <c:pt idx="76">
                  <c:v>182478</c:v>
                </c:pt>
                <c:pt idx="77">
                  <c:v>210991</c:v>
                </c:pt>
                <c:pt idx="78">
                  <c:v>186063</c:v>
                </c:pt>
                <c:pt idx="79">
                  <c:v>218175</c:v>
                </c:pt>
                <c:pt idx="80">
                  <c:v>168333</c:v>
                </c:pt>
                <c:pt idx="81">
                  <c:v>176277</c:v>
                </c:pt>
                <c:pt idx="82">
                  <c:v>158670</c:v>
                </c:pt>
                <c:pt idx="83">
                  <c:v>279313</c:v>
                </c:pt>
                <c:pt idx="84">
                  <c:v>289504</c:v>
                </c:pt>
                <c:pt idx="85">
                  <c:v>232368</c:v>
                </c:pt>
                <c:pt idx="86">
                  <c:v>179218</c:v>
                </c:pt>
                <c:pt idx="87">
                  <c:v>132589</c:v>
                </c:pt>
                <c:pt idx="88">
                  <c:v>127851</c:v>
                </c:pt>
                <c:pt idx="89">
                  <c:v>126379</c:v>
                </c:pt>
                <c:pt idx="90">
                  <c:v>190600</c:v>
                </c:pt>
                <c:pt idx="91">
                  <c:v>197504</c:v>
                </c:pt>
                <c:pt idx="92">
                  <c:v>158762</c:v>
                </c:pt>
                <c:pt idx="93">
                  <c:v>135236</c:v>
                </c:pt>
                <c:pt idx="94">
                  <c:v>136650</c:v>
                </c:pt>
                <c:pt idx="95">
                  <c:v>131744</c:v>
                </c:pt>
                <c:pt idx="96">
                  <c:v>239929</c:v>
                </c:pt>
                <c:pt idx="97">
                  <c:v>269716</c:v>
                </c:pt>
                <c:pt idx="98">
                  <c:v>229914</c:v>
                </c:pt>
                <c:pt idx="99">
                  <c:v>192880</c:v>
                </c:pt>
                <c:pt idx="100">
                  <c:v>178777</c:v>
                </c:pt>
                <c:pt idx="101">
                  <c:v>130031</c:v>
                </c:pt>
                <c:pt idx="102">
                  <c:v>122204</c:v>
                </c:pt>
                <c:pt idx="103">
                  <c:v>147348</c:v>
                </c:pt>
                <c:pt idx="104">
                  <c:v>168780</c:v>
                </c:pt>
                <c:pt idx="105">
                  <c:v>217233</c:v>
                </c:pt>
                <c:pt idx="106">
                  <c:v>211017</c:v>
                </c:pt>
                <c:pt idx="107">
                  <c:v>166480</c:v>
                </c:pt>
                <c:pt idx="108">
                  <c:v>128136</c:v>
                </c:pt>
                <c:pt idx="109">
                  <c:v>133117</c:v>
                </c:pt>
                <c:pt idx="110">
                  <c:v>251225</c:v>
                </c:pt>
                <c:pt idx="111">
                  <c:v>227168</c:v>
                </c:pt>
                <c:pt idx="112">
                  <c:v>274440</c:v>
                </c:pt>
                <c:pt idx="113">
                  <c:v>300202</c:v>
                </c:pt>
                <c:pt idx="114">
                  <c:v>225661</c:v>
                </c:pt>
                <c:pt idx="115">
                  <c:v>150662</c:v>
                </c:pt>
                <c:pt idx="116">
                  <c:v>159302</c:v>
                </c:pt>
                <c:pt idx="117">
                  <c:v>321596</c:v>
                </c:pt>
                <c:pt idx="118">
                  <c:v>339850</c:v>
                </c:pt>
                <c:pt idx="119">
                  <c:v>268376</c:v>
                </c:pt>
                <c:pt idx="120">
                  <c:v>287315</c:v>
                </c:pt>
                <c:pt idx="121">
                  <c:v>291110</c:v>
                </c:pt>
                <c:pt idx="122">
                  <c:v>179084</c:v>
                </c:pt>
                <c:pt idx="123">
                  <c:v>154048</c:v>
                </c:pt>
                <c:pt idx="124">
                  <c:v>192537</c:v>
                </c:pt>
                <c:pt idx="125">
                  <c:v>193897</c:v>
                </c:pt>
                <c:pt idx="126">
                  <c:v>248372</c:v>
                </c:pt>
                <c:pt idx="127">
                  <c:v>233267</c:v>
                </c:pt>
                <c:pt idx="128">
                  <c:v>242212</c:v>
                </c:pt>
                <c:pt idx="129">
                  <c:v>221486</c:v>
                </c:pt>
                <c:pt idx="130">
                  <c:v>225177</c:v>
                </c:pt>
                <c:pt idx="131">
                  <c:v>248939</c:v>
                </c:pt>
                <c:pt idx="132">
                  <c:v>272776</c:v>
                </c:pt>
                <c:pt idx="133">
                  <c:v>249250</c:v>
                </c:pt>
                <c:pt idx="134">
                  <c:v>306124</c:v>
                </c:pt>
                <c:pt idx="135">
                  <c:v>199740</c:v>
                </c:pt>
                <c:pt idx="136">
                  <c:v>144575</c:v>
                </c:pt>
                <c:pt idx="137">
                  <c:v>164070</c:v>
                </c:pt>
                <c:pt idx="138">
                  <c:v>179250</c:v>
                </c:pt>
                <c:pt idx="139">
                  <c:v>317539</c:v>
                </c:pt>
                <c:pt idx="140">
                  <c:v>218285</c:v>
                </c:pt>
                <c:pt idx="141">
                  <c:v>264034</c:v>
                </c:pt>
                <c:pt idx="142">
                  <c:v>240073</c:v>
                </c:pt>
                <c:pt idx="143">
                  <c:v>153187</c:v>
                </c:pt>
                <c:pt idx="144">
                  <c:v>210144</c:v>
                </c:pt>
                <c:pt idx="145">
                  <c:v>229562</c:v>
                </c:pt>
                <c:pt idx="146">
                  <c:v>312510</c:v>
                </c:pt>
                <c:pt idx="147">
                  <c:v>274232</c:v>
                </c:pt>
                <c:pt idx="148">
                  <c:v>270576</c:v>
                </c:pt>
                <c:pt idx="149">
                  <c:v>315570</c:v>
                </c:pt>
                <c:pt idx="150">
                  <c:v>239825</c:v>
                </c:pt>
                <c:pt idx="151">
                  <c:v>238459</c:v>
                </c:pt>
                <c:pt idx="152">
                  <c:v>332532</c:v>
                </c:pt>
                <c:pt idx="153">
                  <c:v>285240</c:v>
                </c:pt>
                <c:pt idx="154">
                  <c:v>290082</c:v>
                </c:pt>
                <c:pt idx="155">
                  <c:v>308618</c:v>
                </c:pt>
                <c:pt idx="156">
                  <c:v>323275</c:v>
                </c:pt>
                <c:pt idx="157">
                  <c:v>203455</c:v>
                </c:pt>
                <c:pt idx="158">
                  <c:v>194696</c:v>
                </c:pt>
                <c:pt idx="159">
                  <c:v>214633</c:v>
                </c:pt>
                <c:pt idx="160">
                  <c:v>284384</c:v>
                </c:pt>
                <c:pt idx="161">
                  <c:v>329972</c:v>
                </c:pt>
                <c:pt idx="162">
                  <c:v>340200</c:v>
                </c:pt>
                <c:pt idx="163">
                  <c:v>205505</c:v>
                </c:pt>
                <c:pt idx="164">
                  <c:v>183882</c:v>
                </c:pt>
                <c:pt idx="165">
                  <c:v>177214</c:v>
                </c:pt>
                <c:pt idx="166">
                  <c:v>340060</c:v>
                </c:pt>
                <c:pt idx="167">
                  <c:v>292278</c:v>
                </c:pt>
                <c:pt idx="168">
                  <c:v>338899</c:v>
                </c:pt>
                <c:pt idx="169">
                  <c:v>296252</c:v>
                </c:pt>
                <c:pt idx="170">
                  <c:v>307938</c:v>
                </c:pt>
                <c:pt idx="171">
                  <c:v>197355</c:v>
                </c:pt>
                <c:pt idx="172">
                  <c:v>197774</c:v>
                </c:pt>
                <c:pt idx="173">
                  <c:v>216944</c:v>
                </c:pt>
                <c:pt idx="174">
                  <c:v>254061</c:v>
                </c:pt>
                <c:pt idx="175">
                  <c:v>267470</c:v>
                </c:pt>
                <c:pt idx="176">
                  <c:v>315746</c:v>
                </c:pt>
                <c:pt idx="177">
                  <c:v>262075</c:v>
                </c:pt>
                <c:pt idx="178">
                  <c:v>238902</c:v>
                </c:pt>
                <c:pt idx="179">
                  <c:v>284470</c:v>
                </c:pt>
                <c:pt idx="180">
                  <c:v>337627</c:v>
                </c:pt>
                <c:pt idx="181">
                  <c:v>322624</c:v>
                </c:pt>
                <c:pt idx="182">
                  <c:v>353490</c:v>
                </c:pt>
                <c:pt idx="183">
                  <c:v>363519</c:v>
                </c:pt>
                <c:pt idx="184">
                  <c:v>316144</c:v>
                </c:pt>
                <c:pt idx="185">
                  <c:v>249061</c:v>
                </c:pt>
                <c:pt idx="186">
                  <c:v>250133</c:v>
                </c:pt>
                <c:pt idx="187">
                  <c:v>259532</c:v>
                </c:pt>
                <c:pt idx="188">
                  <c:v>228214</c:v>
                </c:pt>
                <c:pt idx="189">
                  <c:v>226847</c:v>
                </c:pt>
                <c:pt idx="190">
                  <c:v>227248</c:v>
                </c:pt>
                <c:pt idx="191">
                  <c:v>245481</c:v>
                </c:pt>
                <c:pt idx="192">
                  <c:v>229172</c:v>
                </c:pt>
                <c:pt idx="193">
                  <c:v>282539</c:v>
                </c:pt>
                <c:pt idx="194">
                  <c:v>292448</c:v>
                </c:pt>
                <c:pt idx="195">
                  <c:v>348720</c:v>
                </c:pt>
                <c:pt idx="196">
                  <c:v>343289</c:v>
                </c:pt>
                <c:pt idx="197">
                  <c:v>357877</c:v>
                </c:pt>
                <c:pt idx="198">
                  <c:v>321458</c:v>
                </c:pt>
                <c:pt idx="199">
                  <c:v>238762</c:v>
                </c:pt>
                <c:pt idx="200">
                  <c:v>211446</c:v>
                </c:pt>
                <c:pt idx="201">
                  <c:v>306604</c:v>
                </c:pt>
                <c:pt idx="202">
                  <c:v>332648</c:v>
                </c:pt>
                <c:pt idx="203">
                  <c:v>299768</c:v>
                </c:pt>
                <c:pt idx="204">
                  <c:v>270507</c:v>
                </c:pt>
                <c:pt idx="205">
                  <c:v>282832</c:v>
                </c:pt>
                <c:pt idx="206">
                  <c:v>241685</c:v>
                </c:pt>
                <c:pt idx="207">
                  <c:v>206823</c:v>
                </c:pt>
                <c:pt idx="208">
                  <c:v>231776</c:v>
                </c:pt>
                <c:pt idx="209">
                  <c:v>250009</c:v>
                </c:pt>
                <c:pt idx="210">
                  <c:v>325401</c:v>
                </c:pt>
                <c:pt idx="211">
                  <c:v>274003</c:v>
                </c:pt>
                <c:pt idx="212">
                  <c:v>216950</c:v>
                </c:pt>
                <c:pt idx="213">
                  <c:v>227642</c:v>
                </c:pt>
                <c:pt idx="214">
                  <c:v>247059</c:v>
                </c:pt>
                <c:pt idx="215">
                  <c:v>243106</c:v>
                </c:pt>
                <c:pt idx="216">
                  <c:v>248660</c:v>
                </c:pt>
                <c:pt idx="217">
                  <c:v>210719</c:v>
                </c:pt>
                <c:pt idx="218">
                  <c:v>235337</c:v>
                </c:pt>
                <c:pt idx="219">
                  <c:v>285806</c:v>
                </c:pt>
                <c:pt idx="220">
                  <c:v>293389</c:v>
                </c:pt>
                <c:pt idx="221">
                  <c:v>223212</c:v>
                </c:pt>
                <c:pt idx="222">
                  <c:v>293068</c:v>
                </c:pt>
                <c:pt idx="223">
                  <c:v>323873</c:v>
                </c:pt>
                <c:pt idx="224">
                  <c:v>291002</c:v>
                </c:pt>
                <c:pt idx="225">
                  <c:v>265355</c:v>
                </c:pt>
                <c:pt idx="226">
                  <c:v>247003</c:v>
                </c:pt>
                <c:pt idx="227">
                  <c:v>262610</c:v>
                </c:pt>
                <c:pt idx="228">
                  <c:v>221204</c:v>
                </c:pt>
                <c:pt idx="229">
                  <c:v>247301</c:v>
                </c:pt>
                <c:pt idx="230">
                  <c:v>324990</c:v>
                </c:pt>
                <c:pt idx="231">
                  <c:v>292495</c:v>
                </c:pt>
                <c:pt idx="232">
                  <c:v>309202</c:v>
                </c:pt>
                <c:pt idx="233">
                  <c:v>272716</c:v>
                </c:pt>
                <c:pt idx="234">
                  <c:v>272768</c:v>
                </c:pt>
                <c:pt idx="235">
                  <c:v>275794</c:v>
                </c:pt>
                <c:pt idx="236">
                  <c:v>205432</c:v>
                </c:pt>
                <c:pt idx="237">
                  <c:v>330414</c:v>
                </c:pt>
                <c:pt idx="238">
                  <c:v>288687</c:v>
                </c:pt>
                <c:pt idx="239">
                  <c:v>219788</c:v>
                </c:pt>
                <c:pt idx="240">
                  <c:v>255724</c:v>
                </c:pt>
                <c:pt idx="241">
                  <c:v>178162</c:v>
                </c:pt>
                <c:pt idx="242">
                  <c:v>236423</c:v>
                </c:pt>
                <c:pt idx="243">
                  <c:v>249798</c:v>
                </c:pt>
                <c:pt idx="244">
                  <c:v>293420</c:v>
                </c:pt>
                <c:pt idx="245">
                  <c:v>315428</c:v>
                </c:pt>
                <c:pt idx="246">
                  <c:v>319530</c:v>
                </c:pt>
                <c:pt idx="247">
                  <c:v>358314</c:v>
                </c:pt>
                <c:pt idx="248">
                  <c:v>355728</c:v>
                </c:pt>
                <c:pt idx="249">
                  <c:v>302778</c:v>
                </c:pt>
                <c:pt idx="250">
                  <c:v>359779</c:v>
                </c:pt>
                <c:pt idx="251">
                  <c:v>326051</c:v>
                </c:pt>
                <c:pt idx="252">
                  <c:v>382759</c:v>
                </c:pt>
                <c:pt idx="253">
                  <c:v>318028</c:v>
                </c:pt>
                <c:pt idx="254">
                  <c:v>279070</c:v>
                </c:pt>
                <c:pt idx="255">
                  <c:v>224108</c:v>
                </c:pt>
                <c:pt idx="256">
                  <c:v>312564</c:v>
                </c:pt>
                <c:pt idx="257">
                  <c:v>305954</c:v>
                </c:pt>
                <c:pt idx="258">
                  <c:v>301562</c:v>
                </c:pt>
                <c:pt idx="259">
                  <c:v>272729</c:v>
                </c:pt>
                <c:pt idx="260">
                  <c:v>290499</c:v>
                </c:pt>
                <c:pt idx="261">
                  <c:v>328087</c:v>
                </c:pt>
                <c:pt idx="262">
                  <c:v>300834</c:v>
                </c:pt>
                <c:pt idx="263">
                  <c:v>310964</c:v>
                </c:pt>
                <c:pt idx="264">
                  <c:v>357968</c:v>
                </c:pt>
                <c:pt idx="265">
                  <c:v>384661</c:v>
                </c:pt>
                <c:pt idx="266">
                  <c:v>389524</c:v>
                </c:pt>
                <c:pt idx="267">
                  <c:v>351716</c:v>
                </c:pt>
                <c:pt idx="268">
                  <c:v>299119</c:v>
                </c:pt>
                <c:pt idx="269">
                  <c:v>278184</c:v>
                </c:pt>
                <c:pt idx="270">
                  <c:v>228771</c:v>
                </c:pt>
                <c:pt idx="271">
                  <c:v>325920</c:v>
                </c:pt>
                <c:pt idx="272">
                  <c:v>363325</c:v>
                </c:pt>
                <c:pt idx="273">
                  <c:v>440557</c:v>
                </c:pt>
                <c:pt idx="274">
                  <c:v>371429</c:v>
                </c:pt>
                <c:pt idx="275">
                  <c:v>380773</c:v>
                </c:pt>
                <c:pt idx="276">
                  <c:v>337793</c:v>
                </c:pt>
                <c:pt idx="277">
                  <c:v>285552</c:v>
                </c:pt>
                <c:pt idx="278">
                  <c:v>305272</c:v>
                </c:pt>
                <c:pt idx="279">
                  <c:v>326943</c:v>
                </c:pt>
                <c:pt idx="280">
                  <c:v>352033</c:v>
                </c:pt>
                <c:pt idx="281">
                  <c:v>338903</c:v>
                </c:pt>
                <c:pt idx="282">
                  <c:v>319365</c:v>
                </c:pt>
                <c:pt idx="283">
                  <c:v>310397</c:v>
                </c:pt>
                <c:pt idx="284">
                  <c:v>260245</c:v>
                </c:pt>
                <c:pt idx="285">
                  <c:v>293142</c:v>
                </c:pt>
                <c:pt idx="286">
                  <c:v>295142</c:v>
                </c:pt>
                <c:pt idx="287">
                  <c:v>296196</c:v>
                </c:pt>
                <c:pt idx="288">
                  <c:v>345469</c:v>
                </c:pt>
                <c:pt idx="289">
                  <c:v>322184</c:v>
                </c:pt>
                <c:pt idx="290">
                  <c:v>319089</c:v>
                </c:pt>
                <c:pt idx="291">
                  <c:v>297759</c:v>
                </c:pt>
                <c:pt idx="292">
                  <c:v>308630</c:v>
                </c:pt>
                <c:pt idx="293">
                  <c:v>327233</c:v>
                </c:pt>
                <c:pt idx="294">
                  <c:v>388635</c:v>
                </c:pt>
                <c:pt idx="295">
                  <c:v>361519</c:v>
                </c:pt>
                <c:pt idx="296">
                  <c:v>346852</c:v>
                </c:pt>
                <c:pt idx="297">
                  <c:v>315111</c:v>
                </c:pt>
                <c:pt idx="298">
                  <c:v>298672</c:v>
                </c:pt>
                <c:pt idx="299">
                  <c:v>258096</c:v>
                </c:pt>
                <c:pt idx="300">
                  <c:v>331460</c:v>
                </c:pt>
                <c:pt idx="301">
                  <c:v>341515</c:v>
                </c:pt>
                <c:pt idx="302">
                  <c:v>312403</c:v>
                </c:pt>
                <c:pt idx="303">
                  <c:v>309466</c:v>
                </c:pt>
                <c:pt idx="304">
                  <c:v>266400</c:v>
                </c:pt>
                <c:pt idx="305">
                  <c:v>263717</c:v>
                </c:pt>
                <c:pt idx="306">
                  <c:v>304363</c:v>
                </c:pt>
                <c:pt idx="307">
                  <c:v>284835</c:v>
                </c:pt>
                <c:pt idx="308">
                  <c:v>334190</c:v>
                </c:pt>
                <c:pt idx="309">
                  <c:v>225210</c:v>
                </c:pt>
                <c:pt idx="310">
                  <c:v>314588</c:v>
                </c:pt>
                <c:pt idx="311">
                  <c:v>289384</c:v>
                </c:pt>
                <c:pt idx="312">
                  <c:v>390463</c:v>
                </c:pt>
                <c:pt idx="313">
                  <c:v>413493</c:v>
                </c:pt>
                <c:pt idx="314">
                  <c:v>302599</c:v>
                </c:pt>
                <c:pt idx="315">
                  <c:v>300145</c:v>
                </c:pt>
                <c:pt idx="316">
                  <c:v>280108</c:v>
                </c:pt>
                <c:pt idx="317">
                  <c:v>226780</c:v>
                </c:pt>
                <c:pt idx="318">
                  <c:v>206404</c:v>
                </c:pt>
                <c:pt idx="319">
                  <c:v>264633</c:v>
                </c:pt>
                <c:pt idx="320">
                  <c:v>245306</c:v>
                </c:pt>
                <c:pt idx="321">
                  <c:v>312327</c:v>
                </c:pt>
                <c:pt idx="322">
                  <c:v>378438</c:v>
                </c:pt>
                <c:pt idx="323">
                  <c:v>390336</c:v>
                </c:pt>
                <c:pt idx="324">
                  <c:v>313962</c:v>
                </c:pt>
                <c:pt idx="325">
                  <c:v>265683</c:v>
                </c:pt>
                <c:pt idx="326">
                  <c:v>286228</c:v>
                </c:pt>
                <c:pt idx="327">
                  <c:v>274507</c:v>
                </c:pt>
                <c:pt idx="328">
                  <c:v>394271</c:v>
                </c:pt>
                <c:pt idx="329">
                  <c:v>319299</c:v>
                </c:pt>
                <c:pt idx="330">
                  <c:v>348833</c:v>
                </c:pt>
                <c:pt idx="331">
                  <c:v>321102</c:v>
                </c:pt>
                <c:pt idx="332">
                  <c:v>206652</c:v>
                </c:pt>
                <c:pt idx="333">
                  <c:v>242868</c:v>
                </c:pt>
                <c:pt idx="334">
                  <c:v>256615</c:v>
                </c:pt>
                <c:pt idx="335">
                  <c:v>276576</c:v>
                </c:pt>
                <c:pt idx="336">
                  <c:v>295913</c:v>
                </c:pt>
                <c:pt idx="337">
                  <c:v>251856</c:v>
                </c:pt>
                <c:pt idx="338">
                  <c:v>197687</c:v>
                </c:pt>
                <c:pt idx="339">
                  <c:v>221910</c:v>
                </c:pt>
                <c:pt idx="340">
                  <c:v>272845</c:v>
                </c:pt>
                <c:pt idx="341">
                  <c:v>248170</c:v>
                </c:pt>
                <c:pt idx="342">
                  <c:v>242762</c:v>
                </c:pt>
                <c:pt idx="343">
                  <c:v>260170</c:v>
                </c:pt>
                <c:pt idx="344">
                  <c:v>304824</c:v>
                </c:pt>
                <c:pt idx="345">
                  <c:v>252932</c:v>
                </c:pt>
                <c:pt idx="346">
                  <c:v>184846</c:v>
                </c:pt>
                <c:pt idx="347">
                  <c:v>167220</c:v>
                </c:pt>
                <c:pt idx="348">
                  <c:v>219590</c:v>
                </c:pt>
                <c:pt idx="349">
                  <c:v>275522</c:v>
                </c:pt>
                <c:pt idx="350">
                  <c:v>307584</c:v>
                </c:pt>
                <c:pt idx="351">
                  <c:v>297326</c:v>
                </c:pt>
                <c:pt idx="352">
                  <c:v>359844</c:v>
                </c:pt>
                <c:pt idx="353">
                  <c:v>300716</c:v>
                </c:pt>
                <c:pt idx="354">
                  <c:v>385319</c:v>
                </c:pt>
                <c:pt idx="355">
                  <c:v>287028</c:v>
                </c:pt>
                <c:pt idx="356">
                  <c:v>316343</c:v>
                </c:pt>
                <c:pt idx="357">
                  <c:v>276028</c:v>
                </c:pt>
                <c:pt idx="358">
                  <c:v>247652</c:v>
                </c:pt>
                <c:pt idx="359">
                  <c:v>290527</c:v>
                </c:pt>
                <c:pt idx="360">
                  <c:v>238248</c:v>
                </c:pt>
                <c:pt idx="361">
                  <c:v>203598</c:v>
                </c:pt>
                <c:pt idx="362">
                  <c:v>220148</c:v>
                </c:pt>
                <c:pt idx="363">
                  <c:v>268901</c:v>
                </c:pt>
                <c:pt idx="364">
                  <c:v>3102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E9-41B9-B7BC-484E1143532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Rise Of Kingdoms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E$2:$E$366</c:f>
              <c:numCache>
                <c:formatCode>#,##0</c:formatCode>
                <c:ptCount val="365"/>
                <c:pt idx="0">
                  <c:v>139164</c:v>
                </c:pt>
                <c:pt idx="1">
                  <c:v>102496</c:v>
                </c:pt>
                <c:pt idx="2">
                  <c:v>95336</c:v>
                </c:pt>
                <c:pt idx="3">
                  <c:v>90150</c:v>
                </c:pt>
                <c:pt idx="4">
                  <c:v>86756</c:v>
                </c:pt>
                <c:pt idx="5">
                  <c:v>83244</c:v>
                </c:pt>
                <c:pt idx="6">
                  <c:v>129938</c:v>
                </c:pt>
                <c:pt idx="7">
                  <c:v>139526</c:v>
                </c:pt>
                <c:pt idx="8">
                  <c:v>94751</c:v>
                </c:pt>
                <c:pt idx="9">
                  <c:v>114019</c:v>
                </c:pt>
                <c:pt idx="10">
                  <c:v>162186</c:v>
                </c:pt>
                <c:pt idx="11">
                  <c:v>143756</c:v>
                </c:pt>
                <c:pt idx="12">
                  <c:v>118512</c:v>
                </c:pt>
                <c:pt idx="13">
                  <c:v>108246</c:v>
                </c:pt>
                <c:pt idx="14">
                  <c:v>97703</c:v>
                </c:pt>
                <c:pt idx="15">
                  <c:v>92843</c:v>
                </c:pt>
                <c:pt idx="16">
                  <c:v>91580</c:v>
                </c:pt>
                <c:pt idx="17">
                  <c:v>93566</c:v>
                </c:pt>
                <c:pt idx="18">
                  <c:v>81797</c:v>
                </c:pt>
                <c:pt idx="19">
                  <c:v>85828</c:v>
                </c:pt>
                <c:pt idx="20">
                  <c:v>86627</c:v>
                </c:pt>
                <c:pt idx="21">
                  <c:v>89750</c:v>
                </c:pt>
                <c:pt idx="22">
                  <c:v>102492</c:v>
                </c:pt>
                <c:pt idx="23">
                  <c:v>145970</c:v>
                </c:pt>
                <c:pt idx="24">
                  <c:v>235182</c:v>
                </c:pt>
                <c:pt idx="25">
                  <c:v>175602</c:v>
                </c:pt>
                <c:pt idx="26">
                  <c:v>217369</c:v>
                </c:pt>
                <c:pt idx="27">
                  <c:v>112484</c:v>
                </c:pt>
                <c:pt idx="28">
                  <c:v>97033</c:v>
                </c:pt>
                <c:pt idx="29">
                  <c:v>86373</c:v>
                </c:pt>
                <c:pt idx="30">
                  <c:v>104294</c:v>
                </c:pt>
                <c:pt idx="31">
                  <c:v>94841</c:v>
                </c:pt>
                <c:pt idx="32">
                  <c:v>85034</c:v>
                </c:pt>
                <c:pt idx="33">
                  <c:v>83576</c:v>
                </c:pt>
                <c:pt idx="34">
                  <c:v>89803</c:v>
                </c:pt>
                <c:pt idx="35">
                  <c:v>93913</c:v>
                </c:pt>
                <c:pt idx="36">
                  <c:v>88578</c:v>
                </c:pt>
                <c:pt idx="37">
                  <c:v>94635</c:v>
                </c:pt>
                <c:pt idx="38">
                  <c:v>105434</c:v>
                </c:pt>
                <c:pt idx="39">
                  <c:v>103315</c:v>
                </c:pt>
                <c:pt idx="40">
                  <c:v>97019</c:v>
                </c:pt>
                <c:pt idx="41">
                  <c:v>93080</c:v>
                </c:pt>
                <c:pt idx="42">
                  <c:v>85488</c:v>
                </c:pt>
                <c:pt idx="43">
                  <c:v>85854</c:v>
                </c:pt>
                <c:pt idx="44">
                  <c:v>85473</c:v>
                </c:pt>
                <c:pt idx="45">
                  <c:v>77934</c:v>
                </c:pt>
                <c:pt idx="46">
                  <c:v>89981</c:v>
                </c:pt>
                <c:pt idx="47">
                  <c:v>92364</c:v>
                </c:pt>
                <c:pt idx="48">
                  <c:v>91599</c:v>
                </c:pt>
                <c:pt idx="49">
                  <c:v>85304</c:v>
                </c:pt>
                <c:pt idx="50">
                  <c:v>82789</c:v>
                </c:pt>
                <c:pt idx="51">
                  <c:v>94196</c:v>
                </c:pt>
                <c:pt idx="52">
                  <c:v>154797</c:v>
                </c:pt>
                <c:pt idx="53">
                  <c:v>173198</c:v>
                </c:pt>
                <c:pt idx="54">
                  <c:v>175139</c:v>
                </c:pt>
                <c:pt idx="55">
                  <c:v>188878</c:v>
                </c:pt>
                <c:pt idx="56">
                  <c:v>193508</c:v>
                </c:pt>
                <c:pt idx="57">
                  <c:v>142733</c:v>
                </c:pt>
                <c:pt idx="58">
                  <c:v>134376</c:v>
                </c:pt>
                <c:pt idx="59">
                  <c:v>152606</c:v>
                </c:pt>
                <c:pt idx="60">
                  <c:v>96673</c:v>
                </c:pt>
                <c:pt idx="61">
                  <c:v>114159</c:v>
                </c:pt>
                <c:pt idx="62">
                  <c:v>136893</c:v>
                </c:pt>
                <c:pt idx="63">
                  <c:v>112565</c:v>
                </c:pt>
                <c:pt idx="64">
                  <c:v>82181</c:v>
                </c:pt>
                <c:pt idx="65">
                  <c:v>98817</c:v>
                </c:pt>
                <c:pt idx="66">
                  <c:v>157415</c:v>
                </c:pt>
                <c:pt idx="67">
                  <c:v>153652</c:v>
                </c:pt>
                <c:pt idx="68">
                  <c:v>144707</c:v>
                </c:pt>
                <c:pt idx="69">
                  <c:v>128803</c:v>
                </c:pt>
                <c:pt idx="70">
                  <c:v>88958</c:v>
                </c:pt>
                <c:pt idx="71">
                  <c:v>104992</c:v>
                </c:pt>
                <c:pt idx="72">
                  <c:v>94051</c:v>
                </c:pt>
                <c:pt idx="73">
                  <c:v>139857</c:v>
                </c:pt>
                <c:pt idx="74">
                  <c:v>132221</c:v>
                </c:pt>
                <c:pt idx="75">
                  <c:v>175465</c:v>
                </c:pt>
                <c:pt idx="76">
                  <c:v>161453</c:v>
                </c:pt>
                <c:pt idx="77">
                  <c:v>130997</c:v>
                </c:pt>
                <c:pt idx="78">
                  <c:v>107497</c:v>
                </c:pt>
                <c:pt idx="79">
                  <c:v>125823</c:v>
                </c:pt>
                <c:pt idx="80">
                  <c:v>175092</c:v>
                </c:pt>
                <c:pt idx="81">
                  <c:v>156406</c:v>
                </c:pt>
                <c:pt idx="82">
                  <c:v>151659</c:v>
                </c:pt>
                <c:pt idx="83">
                  <c:v>117056</c:v>
                </c:pt>
                <c:pt idx="84">
                  <c:v>84396</c:v>
                </c:pt>
                <c:pt idx="85">
                  <c:v>81231</c:v>
                </c:pt>
                <c:pt idx="86">
                  <c:v>111351</c:v>
                </c:pt>
                <c:pt idx="87">
                  <c:v>140936</c:v>
                </c:pt>
                <c:pt idx="88">
                  <c:v>124198</c:v>
                </c:pt>
                <c:pt idx="89">
                  <c:v>107542</c:v>
                </c:pt>
                <c:pt idx="90">
                  <c:v>112084</c:v>
                </c:pt>
                <c:pt idx="91">
                  <c:v>129608</c:v>
                </c:pt>
                <c:pt idx="92">
                  <c:v>113224</c:v>
                </c:pt>
                <c:pt idx="93">
                  <c:v>109176</c:v>
                </c:pt>
                <c:pt idx="94">
                  <c:v>139473</c:v>
                </c:pt>
                <c:pt idx="95">
                  <c:v>137509</c:v>
                </c:pt>
                <c:pt idx="96">
                  <c:v>173687</c:v>
                </c:pt>
                <c:pt idx="97">
                  <c:v>152427</c:v>
                </c:pt>
                <c:pt idx="98">
                  <c:v>110265</c:v>
                </c:pt>
                <c:pt idx="99">
                  <c:v>107305</c:v>
                </c:pt>
                <c:pt idx="100">
                  <c:v>114802</c:v>
                </c:pt>
                <c:pt idx="101">
                  <c:v>164792</c:v>
                </c:pt>
                <c:pt idx="102">
                  <c:v>228802</c:v>
                </c:pt>
                <c:pt idx="103">
                  <c:v>231277</c:v>
                </c:pt>
                <c:pt idx="104">
                  <c:v>233255</c:v>
                </c:pt>
                <c:pt idx="105">
                  <c:v>243769</c:v>
                </c:pt>
                <c:pt idx="106">
                  <c:v>227199</c:v>
                </c:pt>
                <c:pt idx="107">
                  <c:v>216622</c:v>
                </c:pt>
                <c:pt idx="108">
                  <c:v>187973</c:v>
                </c:pt>
                <c:pt idx="109">
                  <c:v>153188</c:v>
                </c:pt>
                <c:pt idx="110">
                  <c:v>147688</c:v>
                </c:pt>
                <c:pt idx="111">
                  <c:v>138669</c:v>
                </c:pt>
                <c:pt idx="112">
                  <c:v>135850</c:v>
                </c:pt>
                <c:pt idx="113">
                  <c:v>169309</c:v>
                </c:pt>
                <c:pt idx="114">
                  <c:v>218748</c:v>
                </c:pt>
                <c:pt idx="115">
                  <c:v>181226</c:v>
                </c:pt>
                <c:pt idx="116">
                  <c:v>142432</c:v>
                </c:pt>
                <c:pt idx="117">
                  <c:v>114777</c:v>
                </c:pt>
                <c:pt idx="118">
                  <c:v>123146</c:v>
                </c:pt>
                <c:pt idx="119">
                  <c:v>122139</c:v>
                </c:pt>
                <c:pt idx="120">
                  <c:v>106973</c:v>
                </c:pt>
                <c:pt idx="121">
                  <c:v>132697</c:v>
                </c:pt>
                <c:pt idx="122">
                  <c:v>190995</c:v>
                </c:pt>
                <c:pt idx="123">
                  <c:v>160207</c:v>
                </c:pt>
                <c:pt idx="124">
                  <c:v>150582</c:v>
                </c:pt>
                <c:pt idx="125">
                  <c:v>131809</c:v>
                </c:pt>
                <c:pt idx="126">
                  <c:v>98560</c:v>
                </c:pt>
                <c:pt idx="127">
                  <c:v>86198</c:v>
                </c:pt>
                <c:pt idx="128">
                  <c:v>91655</c:v>
                </c:pt>
                <c:pt idx="129">
                  <c:v>158933</c:v>
                </c:pt>
                <c:pt idx="130">
                  <c:v>207685</c:v>
                </c:pt>
                <c:pt idx="131">
                  <c:v>148911</c:v>
                </c:pt>
                <c:pt idx="132">
                  <c:v>126126</c:v>
                </c:pt>
                <c:pt idx="133">
                  <c:v>118344</c:v>
                </c:pt>
                <c:pt idx="134">
                  <c:v>113651</c:v>
                </c:pt>
                <c:pt idx="135">
                  <c:v>145487</c:v>
                </c:pt>
                <c:pt idx="136">
                  <c:v>198930</c:v>
                </c:pt>
                <c:pt idx="137">
                  <c:v>167590</c:v>
                </c:pt>
                <c:pt idx="138">
                  <c:v>161605</c:v>
                </c:pt>
                <c:pt idx="139">
                  <c:v>123934</c:v>
                </c:pt>
                <c:pt idx="140">
                  <c:v>98193</c:v>
                </c:pt>
                <c:pt idx="141">
                  <c:v>95859</c:v>
                </c:pt>
                <c:pt idx="142">
                  <c:v>126265</c:v>
                </c:pt>
                <c:pt idx="143">
                  <c:v>134628</c:v>
                </c:pt>
                <c:pt idx="144">
                  <c:v>113692</c:v>
                </c:pt>
                <c:pt idx="145">
                  <c:v>100169</c:v>
                </c:pt>
                <c:pt idx="146">
                  <c:v>113938</c:v>
                </c:pt>
                <c:pt idx="147">
                  <c:v>170252</c:v>
                </c:pt>
                <c:pt idx="148">
                  <c:v>202585</c:v>
                </c:pt>
                <c:pt idx="149">
                  <c:v>248564</c:v>
                </c:pt>
                <c:pt idx="150">
                  <c:v>286337</c:v>
                </c:pt>
                <c:pt idx="151">
                  <c:v>287860</c:v>
                </c:pt>
                <c:pt idx="152">
                  <c:v>244367</c:v>
                </c:pt>
                <c:pt idx="153">
                  <c:v>200862</c:v>
                </c:pt>
                <c:pt idx="154">
                  <c:v>118820</c:v>
                </c:pt>
                <c:pt idx="155">
                  <c:v>88591</c:v>
                </c:pt>
                <c:pt idx="156">
                  <c:v>116051</c:v>
                </c:pt>
                <c:pt idx="157">
                  <c:v>132642</c:v>
                </c:pt>
                <c:pt idx="158">
                  <c:v>127280</c:v>
                </c:pt>
                <c:pt idx="159">
                  <c:v>124914</c:v>
                </c:pt>
                <c:pt idx="160">
                  <c:v>117707</c:v>
                </c:pt>
                <c:pt idx="161">
                  <c:v>110640</c:v>
                </c:pt>
                <c:pt idx="162">
                  <c:v>100348</c:v>
                </c:pt>
                <c:pt idx="163">
                  <c:v>125777</c:v>
                </c:pt>
                <c:pt idx="164">
                  <c:v>164403</c:v>
                </c:pt>
                <c:pt idx="165">
                  <c:v>174688</c:v>
                </c:pt>
                <c:pt idx="166">
                  <c:v>201069</c:v>
                </c:pt>
                <c:pt idx="167">
                  <c:v>139989</c:v>
                </c:pt>
                <c:pt idx="168">
                  <c:v>182196</c:v>
                </c:pt>
                <c:pt idx="169">
                  <c:v>168046</c:v>
                </c:pt>
                <c:pt idx="170">
                  <c:v>171269</c:v>
                </c:pt>
                <c:pt idx="171">
                  <c:v>190876</c:v>
                </c:pt>
                <c:pt idx="172">
                  <c:v>163150</c:v>
                </c:pt>
                <c:pt idx="173">
                  <c:v>137934</c:v>
                </c:pt>
                <c:pt idx="174">
                  <c:v>118133</c:v>
                </c:pt>
                <c:pt idx="175">
                  <c:v>112270</c:v>
                </c:pt>
                <c:pt idx="176">
                  <c:v>123762</c:v>
                </c:pt>
                <c:pt idx="177">
                  <c:v>148074</c:v>
                </c:pt>
                <c:pt idx="178">
                  <c:v>244736</c:v>
                </c:pt>
                <c:pt idx="179">
                  <c:v>195247</c:v>
                </c:pt>
                <c:pt idx="180">
                  <c:v>200571</c:v>
                </c:pt>
                <c:pt idx="181">
                  <c:v>179975</c:v>
                </c:pt>
                <c:pt idx="182">
                  <c:v>115884</c:v>
                </c:pt>
                <c:pt idx="183">
                  <c:v>126839</c:v>
                </c:pt>
                <c:pt idx="184">
                  <c:v>202018</c:v>
                </c:pt>
                <c:pt idx="185">
                  <c:v>182911</c:v>
                </c:pt>
                <c:pt idx="186">
                  <c:v>255771</c:v>
                </c:pt>
                <c:pt idx="187">
                  <c:v>208258</c:v>
                </c:pt>
                <c:pt idx="188">
                  <c:v>186996</c:v>
                </c:pt>
                <c:pt idx="189">
                  <c:v>210437</c:v>
                </c:pt>
                <c:pt idx="190">
                  <c:v>202426</c:v>
                </c:pt>
                <c:pt idx="191">
                  <c:v>220131</c:v>
                </c:pt>
                <c:pt idx="192">
                  <c:v>236956</c:v>
                </c:pt>
                <c:pt idx="193">
                  <c:v>246741</c:v>
                </c:pt>
                <c:pt idx="194">
                  <c:v>318388</c:v>
                </c:pt>
                <c:pt idx="195">
                  <c:v>232892</c:v>
                </c:pt>
                <c:pt idx="196">
                  <c:v>183295</c:v>
                </c:pt>
                <c:pt idx="197">
                  <c:v>143905</c:v>
                </c:pt>
                <c:pt idx="198">
                  <c:v>122735</c:v>
                </c:pt>
                <c:pt idx="199">
                  <c:v>151320</c:v>
                </c:pt>
                <c:pt idx="200">
                  <c:v>138147</c:v>
                </c:pt>
                <c:pt idx="201">
                  <c:v>149937</c:v>
                </c:pt>
                <c:pt idx="202">
                  <c:v>156929</c:v>
                </c:pt>
                <c:pt idx="203">
                  <c:v>146399</c:v>
                </c:pt>
                <c:pt idx="204">
                  <c:v>120296</c:v>
                </c:pt>
                <c:pt idx="205">
                  <c:v>158156</c:v>
                </c:pt>
                <c:pt idx="206">
                  <c:v>203220</c:v>
                </c:pt>
                <c:pt idx="207">
                  <c:v>198808</c:v>
                </c:pt>
                <c:pt idx="208">
                  <c:v>227046</c:v>
                </c:pt>
                <c:pt idx="209">
                  <c:v>191184</c:v>
                </c:pt>
                <c:pt idx="210">
                  <c:v>169935</c:v>
                </c:pt>
                <c:pt idx="211">
                  <c:v>144903</c:v>
                </c:pt>
                <c:pt idx="212">
                  <c:v>230784</c:v>
                </c:pt>
                <c:pt idx="213">
                  <c:v>210701</c:v>
                </c:pt>
                <c:pt idx="214">
                  <c:v>177857</c:v>
                </c:pt>
                <c:pt idx="215">
                  <c:v>171714</c:v>
                </c:pt>
                <c:pt idx="216">
                  <c:v>153267</c:v>
                </c:pt>
                <c:pt idx="217">
                  <c:v>153106</c:v>
                </c:pt>
                <c:pt idx="218">
                  <c:v>143400</c:v>
                </c:pt>
                <c:pt idx="219">
                  <c:v>169940</c:v>
                </c:pt>
                <c:pt idx="220">
                  <c:v>213776</c:v>
                </c:pt>
                <c:pt idx="221">
                  <c:v>211434</c:v>
                </c:pt>
                <c:pt idx="222">
                  <c:v>203748</c:v>
                </c:pt>
                <c:pt idx="223">
                  <c:v>156253</c:v>
                </c:pt>
                <c:pt idx="224">
                  <c:v>241598</c:v>
                </c:pt>
                <c:pt idx="225">
                  <c:v>236071</c:v>
                </c:pt>
                <c:pt idx="226">
                  <c:v>249454</c:v>
                </c:pt>
                <c:pt idx="227">
                  <c:v>217288</c:v>
                </c:pt>
                <c:pt idx="228">
                  <c:v>183878</c:v>
                </c:pt>
                <c:pt idx="229">
                  <c:v>177337</c:v>
                </c:pt>
                <c:pt idx="230">
                  <c:v>191263</c:v>
                </c:pt>
                <c:pt idx="231">
                  <c:v>230884</c:v>
                </c:pt>
                <c:pt idx="232">
                  <c:v>261296</c:v>
                </c:pt>
                <c:pt idx="233">
                  <c:v>269448</c:v>
                </c:pt>
                <c:pt idx="234">
                  <c:v>377433</c:v>
                </c:pt>
                <c:pt idx="235">
                  <c:v>377992</c:v>
                </c:pt>
                <c:pt idx="236">
                  <c:v>278635</c:v>
                </c:pt>
                <c:pt idx="237">
                  <c:v>225884</c:v>
                </c:pt>
                <c:pt idx="238">
                  <c:v>155946</c:v>
                </c:pt>
                <c:pt idx="239">
                  <c:v>120827</c:v>
                </c:pt>
                <c:pt idx="240">
                  <c:v>135399</c:v>
                </c:pt>
                <c:pt idx="241">
                  <c:v>177436</c:v>
                </c:pt>
                <c:pt idx="242">
                  <c:v>182026</c:v>
                </c:pt>
                <c:pt idx="243">
                  <c:v>155385</c:v>
                </c:pt>
                <c:pt idx="244">
                  <c:v>149427</c:v>
                </c:pt>
                <c:pt idx="245">
                  <c:v>124339</c:v>
                </c:pt>
                <c:pt idx="246">
                  <c:v>113100</c:v>
                </c:pt>
                <c:pt idx="247">
                  <c:v>178462</c:v>
                </c:pt>
                <c:pt idx="248">
                  <c:v>196479</c:v>
                </c:pt>
                <c:pt idx="249">
                  <c:v>203774</c:v>
                </c:pt>
                <c:pt idx="250">
                  <c:v>197164</c:v>
                </c:pt>
                <c:pt idx="251">
                  <c:v>154081</c:v>
                </c:pt>
                <c:pt idx="252">
                  <c:v>112454</c:v>
                </c:pt>
                <c:pt idx="253">
                  <c:v>121738</c:v>
                </c:pt>
                <c:pt idx="254">
                  <c:v>169250</c:v>
                </c:pt>
                <c:pt idx="255">
                  <c:v>173616</c:v>
                </c:pt>
                <c:pt idx="256">
                  <c:v>139961</c:v>
                </c:pt>
                <c:pt idx="257">
                  <c:v>138720</c:v>
                </c:pt>
                <c:pt idx="258">
                  <c:v>148391</c:v>
                </c:pt>
                <c:pt idx="259">
                  <c:v>246876</c:v>
                </c:pt>
                <c:pt idx="260">
                  <c:v>249313</c:v>
                </c:pt>
                <c:pt idx="261">
                  <c:v>192464</c:v>
                </c:pt>
                <c:pt idx="262">
                  <c:v>220806</c:v>
                </c:pt>
                <c:pt idx="263">
                  <c:v>189801</c:v>
                </c:pt>
                <c:pt idx="264">
                  <c:v>191108</c:v>
                </c:pt>
                <c:pt idx="265">
                  <c:v>160040</c:v>
                </c:pt>
                <c:pt idx="266">
                  <c:v>122784</c:v>
                </c:pt>
                <c:pt idx="267">
                  <c:v>123087</c:v>
                </c:pt>
                <c:pt idx="268">
                  <c:v>162137</c:v>
                </c:pt>
                <c:pt idx="269">
                  <c:v>180504</c:v>
                </c:pt>
                <c:pt idx="270">
                  <c:v>187723</c:v>
                </c:pt>
                <c:pt idx="271">
                  <c:v>156131</c:v>
                </c:pt>
                <c:pt idx="272">
                  <c:v>172840</c:v>
                </c:pt>
                <c:pt idx="273">
                  <c:v>227706</c:v>
                </c:pt>
                <c:pt idx="274">
                  <c:v>227445</c:v>
                </c:pt>
                <c:pt idx="275">
                  <c:v>256635</c:v>
                </c:pt>
                <c:pt idx="276">
                  <c:v>266244</c:v>
                </c:pt>
                <c:pt idx="277">
                  <c:v>228036</c:v>
                </c:pt>
                <c:pt idx="278">
                  <c:v>209638</c:v>
                </c:pt>
                <c:pt idx="279">
                  <c:v>166077</c:v>
                </c:pt>
                <c:pt idx="280">
                  <c:v>123862</c:v>
                </c:pt>
                <c:pt idx="281">
                  <c:v>124408</c:v>
                </c:pt>
                <c:pt idx="282">
                  <c:v>158152</c:v>
                </c:pt>
                <c:pt idx="283">
                  <c:v>126505</c:v>
                </c:pt>
                <c:pt idx="284">
                  <c:v>124381</c:v>
                </c:pt>
                <c:pt idx="285">
                  <c:v>109406</c:v>
                </c:pt>
                <c:pt idx="286">
                  <c:v>194019</c:v>
                </c:pt>
                <c:pt idx="287">
                  <c:v>170747</c:v>
                </c:pt>
                <c:pt idx="288">
                  <c:v>145984</c:v>
                </c:pt>
                <c:pt idx="289">
                  <c:v>190468</c:v>
                </c:pt>
                <c:pt idx="290">
                  <c:v>176804</c:v>
                </c:pt>
                <c:pt idx="291">
                  <c:v>202937</c:v>
                </c:pt>
                <c:pt idx="292">
                  <c:v>209948</c:v>
                </c:pt>
                <c:pt idx="293">
                  <c:v>198962</c:v>
                </c:pt>
                <c:pt idx="294">
                  <c:v>113238</c:v>
                </c:pt>
                <c:pt idx="295">
                  <c:v>116896</c:v>
                </c:pt>
                <c:pt idx="296">
                  <c:v>214952</c:v>
                </c:pt>
                <c:pt idx="297">
                  <c:v>203064</c:v>
                </c:pt>
                <c:pt idx="298">
                  <c:v>182234</c:v>
                </c:pt>
                <c:pt idx="299">
                  <c:v>183909</c:v>
                </c:pt>
                <c:pt idx="300">
                  <c:v>172341</c:v>
                </c:pt>
                <c:pt idx="301">
                  <c:v>222386</c:v>
                </c:pt>
                <c:pt idx="302">
                  <c:v>229414</c:v>
                </c:pt>
                <c:pt idx="303">
                  <c:v>195605</c:v>
                </c:pt>
                <c:pt idx="304">
                  <c:v>231214</c:v>
                </c:pt>
                <c:pt idx="305">
                  <c:v>233672</c:v>
                </c:pt>
                <c:pt idx="306">
                  <c:v>246149</c:v>
                </c:pt>
                <c:pt idx="307">
                  <c:v>237000</c:v>
                </c:pt>
                <c:pt idx="308">
                  <c:v>271459</c:v>
                </c:pt>
                <c:pt idx="309">
                  <c:v>263952</c:v>
                </c:pt>
                <c:pt idx="310">
                  <c:v>350011</c:v>
                </c:pt>
                <c:pt idx="311">
                  <c:v>354987</c:v>
                </c:pt>
                <c:pt idx="312">
                  <c:v>246518</c:v>
                </c:pt>
                <c:pt idx="313">
                  <c:v>214923</c:v>
                </c:pt>
                <c:pt idx="314">
                  <c:v>0</c:v>
                </c:pt>
                <c:pt idx="315">
                  <c:v>129530</c:v>
                </c:pt>
                <c:pt idx="316">
                  <c:v>86773</c:v>
                </c:pt>
                <c:pt idx="317">
                  <c:v>123752</c:v>
                </c:pt>
                <c:pt idx="318">
                  <c:v>231232</c:v>
                </c:pt>
                <c:pt idx="319">
                  <c:v>196771</c:v>
                </c:pt>
                <c:pt idx="320">
                  <c:v>195558</c:v>
                </c:pt>
                <c:pt idx="321">
                  <c:v>145704</c:v>
                </c:pt>
                <c:pt idx="322">
                  <c:v>78091</c:v>
                </c:pt>
                <c:pt idx="323">
                  <c:v>82168</c:v>
                </c:pt>
                <c:pt idx="324">
                  <c:v>154751</c:v>
                </c:pt>
                <c:pt idx="325">
                  <c:v>177797</c:v>
                </c:pt>
                <c:pt idx="326">
                  <c:v>198846</c:v>
                </c:pt>
                <c:pt idx="327">
                  <c:v>159465</c:v>
                </c:pt>
                <c:pt idx="328">
                  <c:v>138929</c:v>
                </c:pt>
                <c:pt idx="329">
                  <c:v>76220</c:v>
                </c:pt>
                <c:pt idx="330">
                  <c:v>82362</c:v>
                </c:pt>
                <c:pt idx="331">
                  <c:v>188758</c:v>
                </c:pt>
                <c:pt idx="332">
                  <c:v>207303</c:v>
                </c:pt>
                <c:pt idx="333">
                  <c:v>210639</c:v>
                </c:pt>
                <c:pt idx="334">
                  <c:v>220553</c:v>
                </c:pt>
                <c:pt idx="335">
                  <c:v>196412</c:v>
                </c:pt>
                <c:pt idx="336">
                  <c:v>113975</c:v>
                </c:pt>
                <c:pt idx="337">
                  <c:v>239289</c:v>
                </c:pt>
                <c:pt idx="338">
                  <c:v>204367</c:v>
                </c:pt>
                <c:pt idx="339">
                  <c:v>180270</c:v>
                </c:pt>
                <c:pt idx="340">
                  <c:v>153097</c:v>
                </c:pt>
                <c:pt idx="341">
                  <c:v>164883</c:v>
                </c:pt>
                <c:pt idx="342">
                  <c:v>149150</c:v>
                </c:pt>
                <c:pt idx="343">
                  <c:v>87702</c:v>
                </c:pt>
                <c:pt idx="344">
                  <c:v>89046</c:v>
                </c:pt>
                <c:pt idx="345">
                  <c:v>152978</c:v>
                </c:pt>
                <c:pt idx="346">
                  <c:v>188231</c:v>
                </c:pt>
                <c:pt idx="347">
                  <c:v>183636</c:v>
                </c:pt>
                <c:pt idx="348">
                  <c:v>198458</c:v>
                </c:pt>
                <c:pt idx="349">
                  <c:v>114012</c:v>
                </c:pt>
                <c:pt idx="350">
                  <c:v>90181</c:v>
                </c:pt>
                <c:pt idx="351">
                  <c:v>90973</c:v>
                </c:pt>
                <c:pt idx="352">
                  <c:v>166159</c:v>
                </c:pt>
                <c:pt idx="353">
                  <c:v>168502</c:v>
                </c:pt>
                <c:pt idx="354">
                  <c:v>134190</c:v>
                </c:pt>
                <c:pt idx="355">
                  <c:v>111477</c:v>
                </c:pt>
                <c:pt idx="356">
                  <c:v>130521</c:v>
                </c:pt>
                <c:pt idx="357">
                  <c:v>94717</c:v>
                </c:pt>
                <c:pt idx="358">
                  <c:v>98328</c:v>
                </c:pt>
                <c:pt idx="359">
                  <c:v>162608</c:v>
                </c:pt>
                <c:pt idx="360">
                  <c:v>179078</c:v>
                </c:pt>
                <c:pt idx="361">
                  <c:v>195876</c:v>
                </c:pt>
                <c:pt idx="362">
                  <c:v>200572</c:v>
                </c:pt>
                <c:pt idx="363">
                  <c:v>241191</c:v>
                </c:pt>
                <c:pt idx="364">
                  <c:v>2288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E9-41B9-B7BC-484E1143532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tate Of Survival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F$2:$F$366</c:f>
              <c:numCache>
                <c:formatCode>#,##0</c:formatCode>
                <c:ptCount val="365"/>
                <c:pt idx="0">
                  <c:v>1789</c:v>
                </c:pt>
                <c:pt idx="1">
                  <c:v>0</c:v>
                </c:pt>
                <c:pt idx="2">
                  <c:v>2118</c:v>
                </c:pt>
                <c:pt idx="3">
                  <c:v>3312</c:v>
                </c:pt>
                <c:pt idx="4">
                  <c:v>3440</c:v>
                </c:pt>
                <c:pt idx="5">
                  <c:v>3082</c:v>
                </c:pt>
                <c:pt idx="6">
                  <c:v>2904</c:v>
                </c:pt>
                <c:pt idx="7">
                  <c:v>1503</c:v>
                </c:pt>
                <c:pt idx="8">
                  <c:v>3483</c:v>
                </c:pt>
                <c:pt idx="9">
                  <c:v>3553</c:v>
                </c:pt>
                <c:pt idx="10">
                  <c:v>2353</c:v>
                </c:pt>
                <c:pt idx="11">
                  <c:v>2913</c:v>
                </c:pt>
                <c:pt idx="12">
                  <c:v>3079</c:v>
                </c:pt>
                <c:pt idx="13">
                  <c:v>3441</c:v>
                </c:pt>
                <c:pt idx="14">
                  <c:v>3231</c:v>
                </c:pt>
                <c:pt idx="15">
                  <c:v>4938</c:v>
                </c:pt>
                <c:pt idx="16">
                  <c:v>6074</c:v>
                </c:pt>
                <c:pt idx="17">
                  <c:v>5498</c:v>
                </c:pt>
                <c:pt idx="18">
                  <c:v>5243</c:v>
                </c:pt>
                <c:pt idx="19">
                  <c:v>5257</c:v>
                </c:pt>
                <c:pt idx="20">
                  <c:v>4504</c:v>
                </c:pt>
                <c:pt idx="21">
                  <c:v>5712</c:v>
                </c:pt>
                <c:pt idx="22">
                  <c:v>4838</c:v>
                </c:pt>
                <c:pt idx="23">
                  <c:v>5252</c:v>
                </c:pt>
                <c:pt idx="24">
                  <c:v>5146</c:v>
                </c:pt>
                <c:pt idx="25">
                  <c:v>6907</c:v>
                </c:pt>
                <c:pt idx="26">
                  <c:v>5870</c:v>
                </c:pt>
                <c:pt idx="27">
                  <c:v>7775</c:v>
                </c:pt>
                <c:pt idx="28">
                  <c:v>9659</c:v>
                </c:pt>
                <c:pt idx="29">
                  <c:v>13129</c:v>
                </c:pt>
                <c:pt idx="30">
                  <c:v>10976</c:v>
                </c:pt>
                <c:pt idx="31">
                  <c:v>10607</c:v>
                </c:pt>
                <c:pt idx="32">
                  <c:v>7342</c:v>
                </c:pt>
                <c:pt idx="33">
                  <c:v>6746</c:v>
                </c:pt>
                <c:pt idx="34">
                  <c:v>6822</c:v>
                </c:pt>
                <c:pt idx="35">
                  <c:v>9046</c:v>
                </c:pt>
                <c:pt idx="36">
                  <c:v>6838</c:v>
                </c:pt>
                <c:pt idx="37">
                  <c:v>5875</c:v>
                </c:pt>
                <c:pt idx="38">
                  <c:v>6063</c:v>
                </c:pt>
                <c:pt idx="39">
                  <c:v>5018</c:v>
                </c:pt>
                <c:pt idx="40">
                  <c:v>6466</c:v>
                </c:pt>
                <c:pt idx="41">
                  <c:v>5196</c:v>
                </c:pt>
                <c:pt idx="42">
                  <c:v>6578</c:v>
                </c:pt>
                <c:pt idx="43">
                  <c:v>5276</c:v>
                </c:pt>
                <c:pt idx="44">
                  <c:v>5344</c:v>
                </c:pt>
                <c:pt idx="45">
                  <c:v>4875</c:v>
                </c:pt>
                <c:pt idx="46">
                  <c:v>4289</c:v>
                </c:pt>
                <c:pt idx="47">
                  <c:v>5411</c:v>
                </c:pt>
                <c:pt idx="48">
                  <c:v>3714</c:v>
                </c:pt>
                <c:pt idx="49">
                  <c:v>5611</c:v>
                </c:pt>
                <c:pt idx="50">
                  <c:v>5781</c:v>
                </c:pt>
                <c:pt idx="51">
                  <c:v>4967</c:v>
                </c:pt>
                <c:pt idx="52">
                  <c:v>5067</c:v>
                </c:pt>
                <c:pt idx="53">
                  <c:v>4803</c:v>
                </c:pt>
                <c:pt idx="54">
                  <c:v>5637</c:v>
                </c:pt>
                <c:pt idx="55">
                  <c:v>5221</c:v>
                </c:pt>
                <c:pt idx="56">
                  <c:v>7971</c:v>
                </c:pt>
                <c:pt idx="57">
                  <c:v>8724</c:v>
                </c:pt>
                <c:pt idx="58">
                  <c:v>8150</c:v>
                </c:pt>
                <c:pt idx="59">
                  <c:v>4950</c:v>
                </c:pt>
                <c:pt idx="60">
                  <c:v>5671</c:v>
                </c:pt>
                <c:pt idx="61">
                  <c:v>10221</c:v>
                </c:pt>
                <c:pt idx="62">
                  <c:v>7715</c:v>
                </c:pt>
                <c:pt idx="63">
                  <c:v>12207</c:v>
                </c:pt>
                <c:pt idx="64">
                  <c:v>12227</c:v>
                </c:pt>
                <c:pt idx="65">
                  <c:v>10683</c:v>
                </c:pt>
                <c:pt idx="66">
                  <c:v>10080</c:v>
                </c:pt>
                <c:pt idx="67">
                  <c:v>11191</c:v>
                </c:pt>
                <c:pt idx="68">
                  <c:v>9838</c:v>
                </c:pt>
                <c:pt idx="69">
                  <c:v>10128</c:v>
                </c:pt>
                <c:pt idx="70">
                  <c:v>7891</c:v>
                </c:pt>
                <c:pt idx="71">
                  <c:v>6772</c:v>
                </c:pt>
                <c:pt idx="72">
                  <c:v>7431</c:v>
                </c:pt>
                <c:pt idx="73">
                  <c:v>6093</c:v>
                </c:pt>
                <c:pt idx="74">
                  <c:v>7045</c:v>
                </c:pt>
                <c:pt idx="75">
                  <c:v>7045</c:v>
                </c:pt>
                <c:pt idx="76">
                  <c:v>6043</c:v>
                </c:pt>
                <c:pt idx="77">
                  <c:v>8487</c:v>
                </c:pt>
                <c:pt idx="78">
                  <c:v>11698</c:v>
                </c:pt>
                <c:pt idx="79">
                  <c:v>11680</c:v>
                </c:pt>
                <c:pt idx="80">
                  <c:v>11392</c:v>
                </c:pt>
                <c:pt idx="81">
                  <c:v>12005</c:v>
                </c:pt>
                <c:pt idx="82">
                  <c:v>11175</c:v>
                </c:pt>
                <c:pt idx="83">
                  <c:v>11674</c:v>
                </c:pt>
                <c:pt idx="84">
                  <c:v>13173</c:v>
                </c:pt>
                <c:pt idx="85">
                  <c:v>11934</c:v>
                </c:pt>
                <c:pt idx="86">
                  <c:v>11909</c:v>
                </c:pt>
                <c:pt idx="87">
                  <c:v>11803</c:v>
                </c:pt>
                <c:pt idx="88">
                  <c:v>11735</c:v>
                </c:pt>
                <c:pt idx="89">
                  <c:v>11464</c:v>
                </c:pt>
                <c:pt idx="90">
                  <c:v>12594</c:v>
                </c:pt>
                <c:pt idx="91">
                  <c:v>14548</c:v>
                </c:pt>
                <c:pt idx="92">
                  <c:v>0</c:v>
                </c:pt>
                <c:pt idx="93">
                  <c:v>15361</c:v>
                </c:pt>
                <c:pt idx="94">
                  <c:v>13057</c:v>
                </c:pt>
                <c:pt idx="95">
                  <c:v>12630</c:v>
                </c:pt>
                <c:pt idx="96">
                  <c:v>12571</c:v>
                </c:pt>
                <c:pt idx="97">
                  <c:v>13057</c:v>
                </c:pt>
                <c:pt idx="98">
                  <c:v>13324</c:v>
                </c:pt>
                <c:pt idx="99">
                  <c:v>13197</c:v>
                </c:pt>
                <c:pt idx="100">
                  <c:v>13233</c:v>
                </c:pt>
                <c:pt idx="101">
                  <c:v>11597</c:v>
                </c:pt>
                <c:pt idx="102">
                  <c:v>13165</c:v>
                </c:pt>
                <c:pt idx="103">
                  <c:v>13469</c:v>
                </c:pt>
                <c:pt idx="104">
                  <c:v>12781</c:v>
                </c:pt>
                <c:pt idx="105">
                  <c:v>12803</c:v>
                </c:pt>
                <c:pt idx="106">
                  <c:v>13109</c:v>
                </c:pt>
                <c:pt idx="107">
                  <c:v>13348</c:v>
                </c:pt>
                <c:pt idx="108">
                  <c:v>12421</c:v>
                </c:pt>
                <c:pt idx="109">
                  <c:v>13235</c:v>
                </c:pt>
                <c:pt idx="110">
                  <c:v>12258</c:v>
                </c:pt>
                <c:pt idx="111">
                  <c:v>12325</c:v>
                </c:pt>
                <c:pt idx="112">
                  <c:v>12727</c:v>
                </c:pt>
                <c:pt idx="113">
                  <c:v>13063</c:v>
                </c:pt>
                <c:pt idx="114">
                  <c:v>12890</c:v>
                </c:pt>
                <c:pt idx="115">
                  <c:v>12130</c:v>
                </c:pt>
                <c:pt idx="116">
                  <c:v>13157</c:v>
                </c:pt>
                <c:pt idx="117">
                  <c:v>12893</c:v>
                </c:pt>
                <c:pt idx="118">
                  <c:v>13057</c:v>
                </c:pt>
                <c:pt idx="119">
                  <c:v>13637</c:v>
                </c:pt>
                <c:pt idx="120">
                  <c:v>5863</c:v>
                </c:pt>
                <c:pt idx="121">
                  <c:v>14909</c:v>
                </c:pt>
                <c:pt idx="122">
                  <c:v>13781</c:v>
                </c:pt>
                <c:pt idx="123">
                  <c:v>14148</c:v>
                </c:pt>
                <c:pt idx="124">
                  <c:v>13841</c:v>
                </c:pt>
                <c:pt idx="125">
                  <c:v>13498</c:v>
                </c:pt>
                <c:pt idx="126">
                  <c:v>13994</c:v>
                </c:pt>
                <c:pt idx="127">
                  <c:v>13709</c:v>
                </c:pt>
                <c:pt idx="128">
                  <c:v>13434</c:v>
                </c:pt>
                <c:pt idx="129">
                  <c:v>12368</c:v>
                </c:pt>
                <c:pt idx="130">
                  <c:v>14468</c:v>
                </c:pt>
                <c:pt idx="131">
                  <c:v>14206</c:v>
                </c:pt>
                <c:pt idx="132">
                  <c:v>13717</c:v>
                </c:pt>
                <c:pt idx="133">
                  <c:v>13652</c:v>
                </c:pt>
                <c:pt idx="134">
                  <c:v>13879</c:v>
                </c:pt>
                <c:pt idx="135">
                  <c:v>13861</c:v>
                </c:pt>
                <c:pt idx="136">
                  <c:v>13229</c:v>
                </c:pt>
                <c:pt idx="137">
                  <c:v>14294</c:v>
                </c:pt>
                <c:pt idx="138">
                  <c:v>14336</c:v>
                </c:pt>
                <c:pt idx="139">
                  <c:v>13469</c:v>
                </c:pt>
                <c:pt idx="140">
                  <c:v>13563</c:v>
                </c:pt>
                <c:pt idx="141">
                  <c:v>13945</c:v>
                </c:pt>
                <c:pt idx="142">
                  <c:v>13676</c:v>
                </c:pt>
                <c:pt idx="143">
                  <c:v>13561</c:v>
                </c:pt>
                <c:pt idx="144">
                  <c:v>14714</c:v>
                </c:pt>
                <c:pt idx="145">
                  <c:v>14436</c:v>
                </c:pt>
                <c:pt idx="146">
                  <c:v>13635</c:v>
                </c:pt>
                <c:pt idx="147">
                  <c:v>13975</c:v>
                </c:pt>
                <c:pt idx="148">
                  <c:v>14094</c:v>
                </c:pt>
                <c:pt idx="149">
                  <c:v>13710</c:v>
                </c:pt>
                <c:pt idx="150">
                  <c:v>13245</c:v>
                </c:pt>
                <c:pt idx="151">
                  <c:v>14427</c:v>
                </c:pt>
                <c:pt idx="152">
                  <c:v>14951</c:v>
                </c:pt>
                <c:pt idx="153">
                  <c:v>14530</c:v>
                </c:pt>
                <c:pt idx="154">
                  <c:v>14773</c:v>
                </c:pt>
                <c:pt idx="155">
                  <c:v>15301</c:v>
                </c:pt>
                <c:pt idx="156">
                  <c:v>14616</c:v>
                </c:pt>
                <c:pt idx="157">
                  <c:v>14419</c:v>
                </c:pt>
                <c:pt idx="158">
                  <c:v>16148</c:v>
                </c:pt>
                <c:pt idx="159">
                  <c:v>15318</c:v>
                </c:pt>
                <c:pt idx="160">
                  <c:v>14794</c:v>
                </c:pt>
                <c:pt idx="161">
                  <c:v>15105</c:v>
                </c:pt>
                <c:pt idx="162">
                  <c:v>15081</c:v>
                </c:pt>
                <c:pt idx="163">
                  <c:v>14924</c:v>
                </c:pt>
                <c:pt idx="164">
                  <c:v>14357</c:v>
                </c:pt>
                <c:pt idx="165">
                  <c:v>16355</c:v>
                </c:pt>
                <c:pt idx="166">
                  <c:v>15423</c:v>
                </c:pt>
                <c:pt idx="167">
                  <c:v>14643</c:v>
                </c:pt>
                <c:pt idx="168">
                  <c:v>14842</c:v>
                </c:pt>
                <c:pt idx="169">
                  <c:v>14713</c:v>
                </c:pt>
                <c:pt idx="170">
                  <c:v>14462</c:v>
                </c:pt>
                <c:pt idx="171">
                  <c:v>14535</c:v>
                </c:pt>
                <c:pt idx="172">
                  <c:v>15920</c:v>
                </c:pt>
                <c:pt idx="173">
                  <c:v>15309</c:v>
                </c:pt>
                <c:pt idx="174">
                  <c:v>15375</c:v>
                </c:pt>
                <c:pt idx="175">
                  <c:v>15386</c:v>
                </c:pt>
                <c:pt idx="176">
                  <c:v>15827</c:v>
                </c:pt>
                <c:pt idx="177">
                  <c:v>15707</c:v>
                </c:pt>
                <c:pt idx="178">
                  <c:v>15367</c:v>
                </c:pt>
                <c:pt idx="179">
                  <c:v>17015</c:v>
                </c:pt>
                <c:pt idx="180">
                  <c:v>15950</c:v>
                </c:pt>
                <c:pt idx="181">
                  <c:v>15388</c:v>
                </c:pt>
                <c:pt idx="182">
                  <c:v>16440</c:v>
                </c:pt>
                <c:pt idx="183">
                  <c:v>16694</c:v>
                </c:pt>
                <c:pt idx="184">
                  <c:v>10904</c:v>
                </c:pt>
                <c:pt idx="185">
                  <c:v>9167</c:v>
                </c:pt>
                <c:pt idx="186">
                  <c:v>9049</c:v>
                </c:pt>
                <c:pt idx="187">
                  <c:v>9265</c:v>
                </c:pt>
                <c:pt idx="188">
                  <c:v>8397</c:v>
                </c:pt>
                <c:pt idx="189">
                  <c:v>9916</c:v>
                </c:pt>
                <c:pt idx="190">
                  <c:v>12205</c:v>
                </c:pt>
                <c:pt idx="191">
                  <c:v>13212</c:v>
                </c:pt>
                <c:pt idx="192">
                  <c:v>10101</c:v>
                </c:pt>
                <c:pt idx="193">
                  <c:v>9592</c:v>
                </c:pt>
                <c:pt idx="194">
                  <c:v>18909</c:v>
                </c:pt>
                <c:pt idx="195">
                  <c:v>16676</c:v>
                </c:pt>
                <c:pt idx="196">
                  <c:v>16240</c:v>
                </c:pt>
                <c:pt idx="197">
                  <c:v>15019</c:v>
                </c:pt>
                <c:pt idx="198">
                  <c:v>13874</c:v>
                </c:pt>
                <c:pt idx="199">
                  <c:v>14961</c:v>
                </c:pt>
                <c:pt idx="200">
                  <c:v>13335</c:v>
                </c:pt>
                <c:pt idx="201">
                  <c:v>9263</c:v>
                </c:pt>
                <c:pt idx="202">
                  <c:v>8164</c:v>
                </c:pt>
                <c:pt idx="203">
                  <c:v>12750</c:v>
                </c:pt>
                <c:pt idx="204">
                  <c:v>12817</c:v>
                </c:pt>
                <c:pt idx="205">
                  <c:v>11235</c:v>
                </c:pt>
                <c:pt idx="206">
                  <c:v>8842</c:v>
                </c:pt>
                <c:pt idx="207">
                  <c:v>9306</c:v>
                </c:pt>
                <c:pt idx="208">
                  <c:v>8666</c:v>
                </c:pt>
                <c:pt idx="209">
                  <c:v>9337</c:v>
                </c:pt>
                <c:pt idx="210">
                  <c:v>18947</c:v>
                </c:pt>
                <c:pt idx="211">
                  <c:v>21294</c:v>
                </c:pt>
                <c:pt idx="212">
                  <c:v>18010</c:v>
                </c:pt>
                <c:pt idx="213">
                  <c:v>11769</c:v>
                </c:pt>
                <c:pt idx="214">
                  <c:v>15201</c:v>
                </c:pt>
                <c:pt idx="215">
                  <c:v>14292</c:v>
                </c:pt>
                <c:pt idx="216">
                  <c:v>8751</c:v>
                </c:pt>
                <c:pt idx="217">
                  <c:v>12963</c:v>
                </c:pt>
                <c:pt idx="218">
                  <c:v>10135</c:v>
                </c:pt>
                <c:pt idx="219">
                  <c:v>9656</c:v>
                </c:pt>
                <c:pt idx="220">
                  <c:v>6853</c:v>
                </c:pt>
                <c:pt idx="221">
                  <c:v>7404</c:v>
                </c:pt>
                <c:pt idx="222">
                  <c:v>7246</c:v>
                </c:pt>
                <c:pt idx="223">
                  <c:v>7422</c:v>
                </c:pt>
                <c:pt idx="224">
                  <c:v>18823</c:v>
                </c:pt>
                <c:pt idx="225">
                  <c:v>23952</c:v>
                </c:pt>
                <c:pt idx="226">
                  <c:v>21286</c:v>
                </c:pt>
                <c:pt idx="227">
                  <c:v>6853</c:v>
                </c:pt>
                <c:pt idx="228">
                  <c:v>7566</c:v>
                </c:pt>
                <c:pt idx="229">
                  <c:v>7502</c:v>
                </c:pt>
                <c:pt idx="230">
                  <c:v>6483</c:v>
                </c:pt>
                <c:pt idx="231">
                  <c:v>16741</c:v>
                </c:pt>
                <c:pt idx="232">
                  <c:v>14515</c:v>
                </c:pt>
                <c:pt idx="233">
                  <c:v>24113</c:v>
                </c:pt>
                <c:pt idx="234">
                  <c:v>6652</c:v>
                </c:pt>
                <c:pt idx="235">
                  <c:v>6831</c:v>
                </c:pt>
                <c:pt idx="236">
                  <c:v>6239</c:v>
                </c:pt>
                <c:pt idx="237">
                  <c:v>6868</c:v>
                </c:pt>
                <c:pt idx="238">
                  <c:v>17402</c:v>
                </c:pt>
                <c:pt idx="239">
                  <c:v>49630</c:v>
                </c:pt>
                <c:pt idx="240">
                  <c:v>76305</c:v>
                </c:pt>
                <c:pt idx="241">
                  <c:v>7729</c:v>
                </c:pt>
                <c:pt idx="242">
                  <c:v>6954</c:v>
                </c:pt>
                <c:pt idx="243">
                  <c:v>7396</c:v>
                </c:pt>
                <c:pt idx="244">
                  <c:v>6990</c:v>
                </c:pt>
                <c:pt idx="245">
                  <c:v>94484</c:v>
                </c:pt>
                <c:pt idx="246">
                  <c:v>84496</c:v>
                </c:pt>
                <c:pt idx="247">
                  <c:v>69019</c:v>
                </c:pt>
                <c:pt idx="248">
                  <c:v>7753</c:v>
                </c:pt>
                <c:pt idx="249">
                  <c:v>9941</c:v>
                </c:pt>
                <c:pt idx="250">
                  <c:v>6476</c:v>
                </c:pt>
                <c:pt idx="251">
                  <c:v>6744</c:v>
                </c:pt>
                <c:pt idx="252">
                  <c:v>40516</c:v>
                </c:pt>
                <c:pt idx="253">
                  <c:v>68598</c:v>
                </c:pt>
                <c:pt idx="254">
                  <c:v>65385</c:v>
                </c:pt>
                <c:pt idx="255">
                  <c:v>7027</c:v>
                </c:pt>
                <c:pt idx="256">
                  <c:v>7137</c:v>
                </c:pt>
                <c:pt idx="257">
                  <c:v>6936</c:v>
                </c:pt>
                <c:pt idx="258">
                  <c:v>7043</c:v>
                </c:pt>
                <c:pt idx="259">
                  <c:v>74827</c:v>
                </c:pt>
                <c:pt idx="260">
                  <c:v>73702</c:v>
                </c:pt>
                <c:pt idx="261">
                  <c:v>57811</c:v>
                </c:pt>
                <c:pt idx="262">
                  <c:v>7073</c:v>
                </c:pt>
                <c:pt idx="263">
                  <c:v>7681</c:v>
                </c:pt>
                <c:pt idx="264">
                  <c:v>7681</c:v>
                </c:pt>
                <c:pt idx="265">
                  <c:v>9967</c:v>
                </c:pt>
                <c:pt idx="266">
                  <c:v>81236</c:v>
                </c:pt>
                <c:pt idx="267">
                  <c:v>79355</c:v>
                </c:pt>
                <c:pt idx="268">
                  <c:v>63056</c:v>
                </c:pt>
                <c:pt idx="269">
                  <c:v>7883</c:v>
                </c:pt>
                <c:pt idx="270">
                  <c:v>44067</c:v>
                </c:pt>
                <c:pt idx="271">
                  <c:v>0</c:v>
                </c:pt>
                <c:pt idx="272">
                  <c:v>7422</c:v>
                </c:pt>
                <c:pt idx="273">
                  <c:v>85318</c:v>
                </c:pt>
                <c:pt idx="274">
                  <c:v>83593</c:v>
                </c:pt>
                <c:pt idx="275">
                  <c:v>61305</c:v>
                </c:pt>
                <c:pt idx="276">
                  <c:v>8187</c:v>
                </c:pt>
                <c:pt idx="277">
                  <c:v>7295</c:v>
                </c:pt>
                <c:pt idx="278">
                  <c:v>7679</c:v>
                </c:pt>
                <c:pt idx="279">
                  <c:v>7742</c:v>
                </c:pt>
                <c:pt idx="280">
                  <c:v>84307</c:v>
                </c:pt>
                <c:pt idx="281">
                  <c:v>83892</c:v>
                </c:pt>
                <c:pt idx="282">
                  <c:v>62887</c:v>
                </c:pt>
                <c:pt idx="283">
                  <c:v>13617</c:v>
                </c:pt>
                <c:pt idx="284">
                  <c:v>7176</c:v>
                </c:pt>
                <c:pt idx="285">
                  <c:v>7280</c:v>
                </c:pt>
                <c:pt idx="286">
                  <c:v>7215</c:v>
                </c:pt>
                <c:pt idx="287">
                  <c:v>73927</c:v>
                </c:pt>
                <c:pt idx="288">
                  <c:v>74930</c:v>
                </c:pt>
                <c:pt idx="289">
                  <c:v>61246</c:v>
                </c:pt>
                <c:pt idx="290">
                  <c:v>8525</c:v>
                </c:pt>
                <c:pt idx="291">
                  <c:v>8095</c:v>
                </c:pt>
                <c:pt idx="292">
                  <c:v>12048</c:v>
                </c:pt>
                <c:pt idx="293">
                  <c:v>10794</c:v>
                </c:pt>
                <c:pt idx="294">
                  <c:v>68605</c:v>
                </c:pt>
                <c:pt idx="295">
                  <c:v>70584</c:v>
                </c:pt>
                <c:pt idx="296">
                  <c:v>59552</c:v>
                </c:pt>
                <c:pt idx="297">
                  <c:v>7322</c:v>
                </c:pt>
                <c:pt idx="298">
                  <c:v>7323</c:v>
                </c:pt>
                <c:pt idx="299">
                  <c:v>13090</c:v>
                </c:pt>
                <c:pt idx="300">
                  <c:v>44356</c:v>
                </c:pt>
                <c:pt idx="301">
                  <c:v>71351</c:v>
                </c:pt>
                <c:pt idx="302">
                  <c:v>73978</c:v>
                </c:pt>
                <c:pt idx="303">
                  <c:v>61577</c:v>
                </c:pt>
                <c:pt idx="304">
                  <c:v>7091</c:v>
                </c:pt>
                <c:pt idx="305">
                  <c:v>7156</c:v>
                </c:pt>
                <c:pt idx="306">
                  <c:v>7088</c:v>
                </c:pt>
                <c:pt idx="307">
                  <c:v>7162</c:v>
                </c:pt>
                <c:pt idx="308">
                  <c:v>76352</c:v>
                </c:pt>
                <c:pt idx="309">
                  <c:v>77244</c:v>
                </c:pt>
                <c:pt idx="310">
                  <c:v>63215</c:v>
                </c:pt>
                <c:pt idx="311">
                  <c:v>6917</c:v>
                </c:pt>
                <c:pt idx="312">
                  <c:v>7105</c:v>
                </c:pt>
                <c:pt idx="313">
                  <c:v>15203</c:v>
                </c:pt>
                <c:pt idx="314">
                  <c:v>0</c:v>
                </c:pt>
                <c:pt idx="315">
                  <c:v>73451</c:v>
                </c:pt>
                <c:pt idx="316">
                  <c:v>73527</c:v>
                </c:pt>
                <c:pt idx="317">
                  <c:v>60243</c:v>
                </c:pt>
                <c:pt idx="318">
                  <c:v>7210</c:v>
                </c:pt>
                <c:pt idx="319">
                  <c:v>7634</c:v>
                </c:pt>
                <c:pt idx="320">
                  <c:v>9496</c:v>
                </c:pt>
                <c:pt idx="321">
                  <c:v>9296</c:v>
                </c:pt>
                <c:pt idx="322">
                  <c:v>72745</c:v>
                </c:pt>
                <c:pt idx="323">
                  <c:v>73512</c:v>
                </c:pt>
                <c:pt idx="324">
                  <c:v>61675</c:v>
                </c:pt>
                <c:pt idx="325">
                  <c:v>7162</c:v>
                </c:pt>
                <c:pt idx="326">
                  <c:v>7884</c:v>
                </c:pt>
                <c:pt idx="327">
                  <c:v>8702</c:v>
                </c:pt>
                <c:pt idx="328">
                  <c:v>42235</c:v>
                </c:pt>
                <c:pt idx="329">
                  <c:v>73207</c:v>
                </c:pt>
                <c:pt idx="330">
                  <c:v>74447</c:v>
                </c:pt>
                <c:pt idx="331">
                  <c:v>63947</c:v>
                </c:pt>
                <c:pt idx="332">
                  <c:v>6935</c:v>
                </c:pt>
                <c:pt idx="333">
                  <c:v>7422</c:v>
                </c:pt>
                <c:pt idx="334">
                  <c:v>43646</c:v>
                </c:pt>
                <c:pt idx="335">
                  <c:v>13255</c:v>
                </c:pt>
                <c:pt idx="336">
                  <c:v>72118</c:v>
                </c:pt>
                <c:pt idx="337">
                  <c:v>74331</c:v>
                </c:pt>
                <c:pt idx="338">
                  <c:v>61714</c:v>
                </c:pt>
                <c:pt idx="339">
                  <c:v>9824</c:v>
                </c:pt>
                <c:pt idx="340">
                  <c:v>7430</c:v>
                </c:pt>
                <c:pt idx="341">
                  <c:v>7422</c:v>
                </c:pt>
                <c:pt idx="342">
                  <c:v>10759</c:v>
                </c:pt>
                <c:pt idx="343">
                  <c:v>71301</c:v>
                </c:pt>
                <c:pt idx="344">
                  <c:v>72851</c:v>
                </c:pt>
                <c:pt idx="345">
                  <c:v>62167</c:v>
                </c:pt>
                <c:pt idx="346">
                  <c:v>7270</c:v>
                </c:pt>
                <c:pt idx="347">
                  <c:v>7537</c:v>
                </c:pt>
                <c:pt idx="348">
                  <c:v>7723</c:v>
                </c:pt>
                <c:pt idx="349">
                  <c:v>8018</c:v>
                </c:pt>
                <c:pt idx="350">
                  <c:v>76021</c:v>
                </c:pt>
                <c:pt idx="351">
                  <c:v>75138</c:v>
                </c:pt>
                <c:pt idx="352">
                  <c:v>63995</c:v>
                </c:pt>
                <c:pt idx="353">
                  <c:v>7280</c:v>
                </c:pt>
                <c:pt idx="354">
                  <c:v>7375</c:v>
                </c:pt>
                <c:pt idx="355">
                  <c:v>7681</c:v>
                </c:pt>
                <c:pt idx="356">
                  <c:v>8855</c:v>
                </c:pt>
                <c:pt idx="357">
                  <c:v>77146</c:v>
                </c:pt>
                <c:pt idx="358">
                  <c:v>70134</c:v>
                </c:pt>
                <c:pt idx="359">
                  <c:v>63643</c:v>
                </c:pt>
                <c:pt idx="360">
                  <c:v>7073</c:v>
                </c:pt>
                <c:pt idx="361">
                  <c:v>45086</c:v>
                </c:pt>
                <c:pt idx="362">
                  <c:v>11756</c:v>
                </c:pt>
                <c:pt idx="363">
                  <c:v>45902</c:v>
                </c:pt>
                <c:pt idx="364">
                  <c:v>786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E9-41B9-B7BC-484E114353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91826704"/>
        <c:axId val="1391838768"/>
      </c:lineChart>
      <c:dateAx>
        <c:axId val="-955199408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 val="autoZero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Revenue (in USD)</a:t>
                </a:r>
                <a:endParaRPr lang="en-IN" b="1"/>
              </a:p>
            </c:rich>
          </c:tx>
          <c:layout>
            <c:manualLayout>
              <c:xMode val="edge"/>
              <c:yMode val="edge"/>
              <c:x val="1.7067833942136307E-2"/>
              <c:y val="0.214663826403764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1391838768"/>
        <c:scaling>
          <c:orientation val="minMax"/>
        </c:scaling>
        <c:delete val="1"/>
        <c:axPos val="r"/>
        <c:numFmt formatCode="#,##0" sourceLinked="1"/>
        <c:majorTickMark val="out"/>
        <c:minorTickMark val="none"/>
        <c:tickLblPos val="nextTo"/>
        <c:crossAx val="1391826704"/>
        <c:crosses val="max"/>
        <c:crossBetween val="between"/>
      </c:valAx>
      <c:dateAx>
        <c:axId val="1391826704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391838768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493242188437125"/>
          <c:y val="0.89284803780649413"/>
          <c:w val="0.55134297445233271"/>
          <c:h val="6.44093085870944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/>
              <a:t>Revenue</a:t>
            </a:r>
            <a:endParaRPr lang="en-IN" sz="1400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647250685203459E-2"/>
          <c:y val="0.1110100897260959"/>
          <c:w val="0.85009385801103066"/>
          <c:h val="0.58994024767250741"/>
        </c:manualLayout>
      </c:layou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Revenu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General</c:formatCode>
                <c:ptCount val="365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941-4C38-820B-4E48CA645C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s Installed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#,##0</c:formatCode>
                <c:ptCount val="365"/>
                <c:pt idx="0">
                  <c:v>495</c:v>
                </c:pt>
                <c:pt idx="1">
                  <c:v>582</c:v>
                </c:pt>
                <c:pt idx="2">
                  <c:v>712</c:v>
                </c:pt>
                <c:pt idx="3">
                  <c:v>577</c:v>
                </c:pt>
                <c:pt idx="4">
                  <c:v>533</c:v>
                </c:pt>
                <c:pt idx="5">
                  <c:v>485</c:v>
                </c:pt>
                <c:pt idx="6">
                  <c:v>469</c:v>
                </c:pt>
                <c:pt idx="7">
                  <c:v>525</c:v>
                </c:pt>
                <c:pt idx="8">
                  <c:v>560</c:v>
                </c:pt>
                <c:pt idx="9">
                  <c:v>543</c:v>
                </c:pt>
                <c:pt idx="10">
                  <c:v>608</c:v>
                </c:pt>
                <c:pt idx="11">
                  <c:v>552</c:v>
                </c:pt>
                <c:pt idx="12">
                  <c:v>494</c:v>
                </c:pt>
                <c:pt idx="13">
                  <c:v>521</c:v>
                </c:pt>
                <c:pt idx="14">
                  <c:v>505</c:v>
                </c:pt>
                <c:pt idx="15">
                  <c:v>615</c:v>
                </c:pt>
                <c:pt idx="16">
                  <c:v>579</c:v>
                </c:pt>
                <c:pt idx="17">
                  <c:v>419</c:v>
                </c:pt>
                <c:pt idx="18">
                  <c:v>405</c:v>
                </c:pt>
                <c:pt idx="19">
                  <c:v>471</c:v>
                </c:pt>
                <c:pt idx="20">
                  <c:v>466</c:v>
                </c:pt>
                <c:pt idx="21">
                  <c:v>442</c:v>
                </c:pt>
                <c:pt idx="22">
                  <c:v>554</c:v>
                </c:pt>
                <c:pt idx="23">
                  <c:v>557</c:v>
                </c:pt>
                <c:pt idx="24">
                  <c:v>500</c:v>
                </c:pt>
                <c:pt idx="25">
                  <c:v>470</c:v>
                </c:pt>
                <c:pt idx="26">
                  <c:v>578</c:v>
                </c:pt>
                <c:pt idx="27">
                  <c:v>527</c:v>
                </c:pt>
                <c:pt idx="28">
                  <c:v>508</c:v>
                </c:pt>
                <c:pt idx="29">
                  <c:v>457</c:v>
                </c:pt>
                <c:pt idx="30">
                  <c:v>436</c:v>
                </c:pt>
                <c:pt idx="31">
                  <c:v>392</c:v>
                </c:pt>
                <c:pt idx="32">
                  <c:v>437</c:v>
                </c:pt>
                <c:pt idx="33">
                  <c:v>442</c:v>
                </c:pt>
                <c:pt idx="34">
                  <c:v>470</c:v>
                </c:pt>
                <c:pt idx="35">
                  <c:v>443</c:v>
                </c:pt>
                <c:pt idx="36">
                  <c:v>503</c:v>
                </c:pt>
                <c:pt idx="37">
                  <c:v>591</c:v>
                </c:pt>
                <c:pt idx="38">
                  <c:v>516</c:v>
                </c:pt>
                <c:pt idx="39">
                  <c:v>467</c:v>
                </c:pt>
                <c:pt idx="40">
                  <c:v>429</c:v>
                </c:pt>
                <c:pt idx="41">
                  <c:v>379</c:v>
                </c:pt>
                <c:pt idx="42">
                  <c:v>425</c:v>
                </c:pt>
                <c:pt idx="43">
                  <c:v>558</c:v>
                </c:pt>
                <c:pt idx="44">
                  <c:v>615</c:v>
                </c:pt>
                <c:pt idx="45">
                  <c:v>521</c:v>
                </c:pt>
                <c:pt idx="46">
                  <c:v>495</c:v>
                </c:pt>
                <c:pt idx="47">
                  <c:v>499</c:v>
                </c:pt>
                <c:pt idx="48">
                  <c:v>450</c:v>
                </c:pt>
                <c:pt idx="49">
                  <c:v>478</c:v>
                </c:pt>
                <c:pt idx="50">
                  <c:v>504</c:v>
                </c:pt>
                <c:pt idx="51">
                  <c:v>519</c:v>
                </c:pt>
                <c:pt idx="52">
                  <c:v>532</c:v>
                </c:pt>
                <c:pt idx="53">
                  <c:v>514</c:v>
                </c:pt>
                <c:pt idx="54">
                  <c:v>458</c:v>
                </c:pt>
                <c:pt idx="55">
                  <c:v>554</c:v>
                </c:pt>
                <c:pt idx="56">
                  <c:v>606</c:v>
                </c:pt>
                <c:pt idx="57">
                  <c:v>609</c:v>
                </c:pt>
                <c:pt idx="58">
                  <c:v>550</c:v>
                </c:pt>
                <c:pt idx="59">
                  <c:v>522</c:v>
                </c:pt>
                <c:pt idx="60">
                  <c:v>525</c:v>
                </c:pt>
                <c:pt idx="61">
                  <c:v>633</c:v>
                </c:pt>
                <c:pt idx="62">
                  <c:v>697</c:v>
                </c:pt>
                <c:pt idx="63">
                  <c:v>633</c:v>
                </c:pt>
                <c:pt idx="64">
                  <c:v>781</c:v>
                </c:pt>
                <c:pt idx="65">
                  <c:v>662</c:v>
                </c:pt>
                <c:pt idx="66">
                  <c:v>548</c:v>
                </c:pt>
                <c:pt idx="67">
                  <c:v>569</c:v>
                </c:pt>
                <c:pt idx="68">
                  <c:v>576</c:v>
                </c:pt>
                <c:pt idx="69">
                  <c:v>609</c:v>
                </c:pt>
                <c:pt idx="70">
                  <c:v>740</c:v>
                </c:pt>
                <c:pt idx="71">
                  <c:v>797</c:v>
                </c:pt>
                <c:pt idx="72">
                  <c:v>742</c:v>
                </c:pt>
                <c:pt idx="73">
                  <c:v>671</c:v>
                </c:pt>
                <c:pt idx="74">
                  <c:v>635</c:v>
                </c:pt>
                <c:pt idx="75">
                  <c:v>619</c:v>
                </c:pt>
                <c:pt idx="76">
                  <c:v>652</c:v>
                </c:pt>
                <c:pt idx="77">
                  <c:v>571</c:v>
                </c:pt>
                <c:pt idx="78">
                  <c:v>696</c:v>
                </c:pt>
                <c:pt idx="79">
                  <c:v>648</c:v>
                </c:pt>
                <c:pt idx="80">
                  <c:v>570</c:v>
                </c:pt>
                <c:pt idx="81">
                  <c:v>592</c:v>
                </c:pt>
                <c:pt idx="82">
                  <c:v>541</c:v>
                </c:pt>
                <c:pt idx="83">
                  <c:v>504</c:v>
                </c:pt>
                <c:pt idx="84">
                  <c:v>473</c:v>
                </c:pt>
                <c:pt idx="85">
                  <c:v>489</c:v>
                </c:pt>
                <c:pt idx="86">
                  <c:v>503</c:v>
                </c:pt>
                <c:pt idx="87">
                  <c:v>424</c:v>
                </c:pt>
                <c:pt idx="88">
                  <c:v>405</c:v>
                </c:pt>
                <c:pt idx="89">
                  <c:v>509</c:v>
                </c:pt>
                <c:pt idx="90">
                  <c:v>451</c:v>
                </c:pt>
                <c:pt idx="91">
                  <c:v>479</c:v>
                </c:pt>
                <c:pt idx="92">
                  <c:v>607</c:v>
                </c:pt>
                <c:pt idx="93">
                  <c:v>599</c:v>
                </c:pt>
                <c:pt idx="94">
                  <c:v>575</c:v>
                </c:pt>
                <c:pt idx="95">
                  <c:v>542</c:v>
                </c:pt>
                <c:pt idx="96">
                  <c:v>565</c:v>
                </c:pt>
                <c:pt idx="97">
                  <c:v>550</c:v>
                </c:pt>
                <c:pt idx="98">
                  <c:v>574</c:v>
                </c:pt>
                <c:pt idx="99">
                  <c:v>566</c:v>
                </c:pt>
                <c:pt idx="100">
                  <c:v>557</c:v>
                </c:pt>
                <c:pt idx="101">
                  <c:v>564</c:v>
                </c:pt>
                <c:pt idx="102">
                  <c:v>570</c:v>
                </c:pt>
                <c:pt idx="103">
                  <c:v>608</c:v>
                </c:pt>
                <c:pt idx="104">
                  <c:v>643</c:v>
                </c:pt>
                <c:pt idx="105">
                  <c:v>655</c:v>
                </c:pt>
                <c:pt idx="106">
                  <c:v>979</c:v>
                </c:pt>
                <c:pt idx="107">
                  <c:v>833</c:v>
                </c:pt>
                <c:pt idx="108">
                  <c:v>709</c:v>
                </c:pt>
                <c:pt idx="109">
                  <c:v>674</c:v>
                </c:pt>
                <c:pt idx="110">
                  <c:v>486</c:v>
                </c:pt>
                <c:pt idx="111">
                  <c:v>600</c:v>
                </c:pt>
                <c:pt idx="112">
                  <c:v>622</c:v>
                </c:pt>
                <c:pt idx="113">
                  <c:v>820</c:v>
                </c:pt>
                <c:pt idx="114">
                  <c:v>614</c:v>
                </c:pt>
                <c:pt idx="115">
                  <c:v>497</c:v>
                </c:pt>
                <c:pt idx="116">
                  <c:v>558</c:v>
                </c:pt>
                <c:pt idx="117">
                  <c:v>674</c:v>
                </c:pt>
                <c:pt idx="118">
                  <c:v>679</c:v>
                </c:pt>
                <c:pt idx="119">
                  <c:v>842</c:v>
                </c:pt>
                <c:pt idx="120">
                  <c:v>1032</c:v>
                </c:pt>
                <c:pt idx="121">
                  <c:v>980</c:v>
                </c:pt>
                <c:pt idx="122">
                  <c:v>957</c:v>
                </c:pt>
                <c:pt idx="123">
                  <c:v>1170</c:v>
                </c:pt>
                <c:pt idx="124">
                  <c:v>1402</c:v>
                </c:pt>
                <c:pt idx="125">
                  <c:v>1217</c:v>
                </c:pt>
                <c:pt idx="126">
                  <c:v>1027</c:v>
                </c:pt>
                <c:pt idx="127">
                  <c:v>985</c:v>
                </c:pt>
                <c:pt idx="128">
                  <c:v>1012</c:v>
                </c:pt>
                <c:pt idx="129">
                  <c:v>958</c:v>
                </c:pt>
                <c:pt idx="130">
                  <c:v>942</c:v>
                </c:pt>
                <c:pt idx="131">
                  <c:v>747</c:v>
                </c:pt>
                <c:pt idx="132">
                  <c:v>696</c:v>
                </c:pt>
                <c:pt idx="133">
                  <c:v>937</c:v>
                </c:pt>
                <c:pt idx="134">
                  <c:v>1170</c:v>
                </c:pt>
                <c:pt idx="135">
                  <c:v>1118</c:v>
                </c:pt>
                <c:pt idx="136">
                  <c:v>734</c:v>
                </c:pt>
                <c:pt idx="137">
                  <c:v>607</c:v>
                </c:pt>
                <c:pt idx="138">
                  <c:v>787</c:v>
                </c:pt>
                <c:pt idx="139">
                  <c:v>768</c:v>
                </c:pt>
                <c:pt idx="140">
                  <c:v>963</c:v>
                </c:pt>
                <c:pt idx="141">
                  <c:v>1030</c:v>
                </c:pt>
                <c:pt idx="142">
                  <c:v>1027</c:v>
                </c:pt>
                <c:pt idx="143">
                  <c:v>955</c:v>
                </c:pt>
                <c:pt idx="144">
                  <c:v>838</c:v>
                </c:pt>
                <c:pt idx="145">
                  <c:v>830</c:v>
                </c:pt>
                <c:pt idx="146">
                  <c:v>751</c:v>
                </c:pt>
                <c:pt idx="147">
                  <c:v>1127</c:v>
                </c:pt>
                <c:pt idx="148">
                  <c:v>1362</c:v>
                </c:pt>
                <c:pt idx="149">
                  <c:v>1564</c:v>
                </c:pt>
                <c:pt idx="150">
                  <c:v>1354</c:v>
                </c:pt>
                <c:pt idx="151">
                  <c:v>1474</c:v>
                </c:pt>
                <c:pt idx="152">
                  <c:v>1478</c:v>
                </c:pt>
                <c:pt idx="153">
                  <c:v>1511</c:v>
                </c:pt>
                <c:pt idx="154">
                  <c:v>1554</c:v>
                </c:pt>
                <c:pt idx="155">
                  <c:v>1869</c:v>
                </c:pt>
                <c:pt idx="156">
                  <c:v>1652</c:v>
                </c:pt>
                <c:pt idx="157">
                  <c:v>1427</c:v>
                </c:pt>
                <c:pt idx="158">
                  <c:v>1384</c:v>
                </c:pt>
                <c:pt idx="159">
                  <c:v>1344</c:v>
                </c:pt>
                <c:pt idx="160">
                  <c:v>980</c:v>
                </c:pt>
                <c:pt idx="161">
                  <c:v>1379</c:v>
                </c:pt>
                <c:pt idx="162">
                  <c:v>1304</c:v>
                </c:pt>
                <c:pt idx="163">
                  <c:v>1572</c:v>
                </c:pt>
                <c:pt idx="164">
                  <c:v>1263</c:v>
                </c:pt>
                <c:pt idx="165">
                  <c:v>1062</c:v>
                </c:pt>
                <c:pt idx="166">
                  <c:v>961</c:v>
                </c:pt>
                <c:pt idx="167">
                  <c:v>1308</c:v>
                </c:pt>
                <c:pt idx="168">
                  <c:v>1376</c:v>
                </c:pt>
                <c:pt idx="169">
                  <c:v>1401</c:v>
                </c:pt>
                <c:pt idx="170">
                  <c:v>1311</c:v>
                </c:pt>
                <c:pt idx="171">
                  <c:v>1112</c:v>
                </c:pt>
                <c:pt idx="172">
                  <c:v>1340</c:v>
                </c:pt>
                <c:pt idx="173">
                  <c:v>1439</c:v>
                </c:pt>
                <c:pt idx="174">
                  <c:v>1224</c:v>
                </c:pt>
                <c:pt idx="175">
                  <c:v>1324</c:v>
                </c:pt>
                <c:pt idx="176">
                  <c:v>1372</c:v>
                </c:pt>
                <c:pt idx="177">
                  <c:v>1487</c:v>
                </c:pt>
                <c:pt idx="178">
                  <c:v>1254</c:v>
                </c:pt>
                <c:pt idx="179">
                  <c:v>1387</c:v>
                </c:pt>
                <c:pt idx="180">
                  <c:v>1537</c:v>
                </c:pt>
                <c:pt idx="181">
                  <c:v>1526</c:v>
                </c:pt>
                <c:pt idx="182">
                  <c:v>1238</c:v>
                </c:pt>
                <c:pt idx="183">
                  <c:v>1318</c:v>
                </c:pt>
                <c:pt idx="184">
                  <c:v>1370</c:v>
                </c:pt>
                <c:pt idx="185">
                  <c:v>1242</c:v>
                </c:pt>
                <c:pt idx="186">
                  <c:v>1264</c:v>
                </c:pt>
                <c:pt idx="187">
                  <c:v>1327</c:v>
                </c:pt>
                <c:pt idx="188">
                  <c:v>1275</c:v>
                </c:pt>
                <c:pt idx="189">
                  <c:v>1505</c:v>
                </c:pt>
                <c:pt idx="190">
                  <c:v>1501</c:v>
                </c:pt>
                <c:pt idx="191">
                  <c:v>1567</c:v>
                </c:pt>
                <c:pt idx="192">
                  <c:v>1480</c:v>
                </c:pt>
                <c:pt idx="193">
                  <c:v>1394</c:v>
                </c:pt>
                <c:pt idx="194">
                  <c:v>1257</c:v>
                </c:pt>
                <c:pt idx="195">
                  <c:v>1422</c:v>
                </c:pt>
                <c:pt idx="196">
                  <c:v>1483</c:v>
                </c:pt>
                <c:pt idx="197">
                  <c:v>1788</c:v>
                </c:pt>
                <c:pt idx="198">
                  <c:v>1931</c:v>
                </c:pt>
                <c:pt idx="199">
                  <c:v>1722</c:v>
                </c:pt>
                <c:pt idx="200">
                  <c:v>1610</c:v>
                </c:pt>
                <c:pt idx="201">
                  <c:v>1525</c:v>
                </c:pt>
                <c:pt idx="202">
                  <c:v>1575</c:v>
                </c:pt>
                <c:pt idx="203">
                  <c:v>1754</c:v>
                </c:pt>
                <c:pt idx="204">
                  <c:v>1583</c:v>
                </c:pt>
                <c:pt idx="205">
                  <c:v>1484</c:v>
                </c:pt>
                <c:pt idx="206">
                  <c:v>1651</c:v>
                </c:pt>
                <c:pt idx="207">
                  <c:v>1543</c:v>
                </c:pt>
                <c:pt idx="208">
                  <c:v>1545</c:v>
                </c:pt>
                <c:pt idx="209">
                  <c:v>1364</c:v>
                </c:pt>
                <c:pt idx="210">
                  <c:v>1207</c:v>
                </c:pt>
                <c:pt idx="211">
                  <c:v>1297</c:v>
                </c:pt>
                <c:pt idx="212">
                  <c:v>1347</c:v>
                </c:pt>
                <c:pt idx="213">
                  <c:v>1471</c:v>
                </c:pt>
                <c:pt idx="214">
                  <c:v>1869</c:v>
                </c:pt>
                <c:pt idx="215">
                  <c:v>1587</c:v>
                </c:pt>
                <c:pt idx="216">
                  <c:v>1339</c:v>
                </c:pt>
                <c:pt idx="217">
                  <c:v>1486</c:v>
                </c:pt>
                <c:pt idx="218">
                  <c:v>1323</c:v>
                </c:pt>
                <c:pt idx="219">
                  <c:v>1479</c:v>
                </c:pt>
                <c:pt idx="220">
                  <c:v>1349</c:v>
                </c:pt>
                <c:pt idx="221">
                  <c:v>1337</c:v>
                </c:pt>
                <c:pt idx="222">
                  <c:v>1202</c:v>
                </c:pt>
                <c:pt idx="223">
                  <c:v>1323</c:v>
                </c:pt>
                <c:pt idx="224">
                  <c:v>1362</c:v>
                </c:pt>
                <c:pt idx="225">
                  <c:v>1782</c:v>
                </c:pt>
                <c:pt idx="226">
                  <c:v>1876</c:v>
                </c:pt>
                <c:pt idx="227">
                  <c:v>1416</c:v>
                </c:pt>
                <c:pt idx="228">
                  <c:v>1787</c:v>
                </c:pt>
                <c:pt idx="229">
                  <c:v>1691</c:v>
                </c:pt>
                <c:pt idx="230">
                  <c:v>1742</c:v>
                </c:pt>
                <c:pt idx="231">
                  <c:v>1932</c:v>
                </c:pt>
                <c:pt idx="232">
                  <c:v>2086</c:v>
                </c:pt>
                <c:pt idx="233">
                  <c:v>2136</c:v>
                </c:pt>
                <c:pt idx="234">
                  <c:v>1916</c:v>
                </c:pt>
                <c:pt idx="235">
                  <c:v>1819</c:v>
                </c:pt>
                <c:pt idx="236">
                  <c:v>1740</c:v>
                </c:pt>
                <c:pt idx="237">
                  <c:v>1524</c:v>
                </c:pt>
                <c:pt idx="238">
                  <c:v>1424</c:v>
                </c:pt>
                <c:pt idx="239">
                  <c:v>1433</c:v>
                </c:pt>
                <c:pt idx="240">
                  <c:v>1654</c:v>
                </c:pt>
                <c:pt idx="241">
                  <c:v>1525</c:v>
                </c:pt>
                <c:pt idx="242">
                  <c:v>1505</c:v>
                </c:pt>
                <c:pt idx="243">
                  <c:v>1448</c:v>
                </c:pt>
                <c:pt idx="244">
                  <c:v>1406</c:v>
                </c:pt>
                <c:pt idx="245">
                  <c:v>1553</c:v>
                </c:pt>
                <c:pt idx="246">
                  <c:v>1527</c:v>
                </c:pt>
                <c:pt idx="247">
                  <c:v>1452</c:v>
                </c:pt>
                <c:pt idx="248">
                  <c:v>1575</c:v>
                </c:pt>
                <c:pt idx="249">
                  <c:v>1629</c:v>
                </c:pt>
                <c:pt idx="250">
                  <c:v>1581</c:v>
                </c:pt>
                <c:pt idx="251">
                  <c:v>1676</c:v>
                </c:pt>
                <c:pt idx="252">
                  <c:v>1894</c:v>
                </c:pt>
                <c:pt idx="253">
                  <c:v>1659</c:v>
                </c:pt>
                <c:pt idx="254">
                  <c:v>1848</c:v>
                </c:pt>
                <c:pt idx="255">
                  <c:v>1939</c:v>
                </c:pt>
                <c:pt idx="256">
                  <c:v>1661</c:v>
                </c:pt>
                <c:pt idx="257">
                  <c:v>1655</c:v>
                </c:pt>
                <c:pt idx="258">
                  <c:v>1670</c:v>
                </c:pt>
                <c:pt idx="259">
                  <c:v>1292</c:v>
                </c:pt>
                <c:pt idx="260">
                  <c:v>1248</c:v>
                </c:pt>
                <c:pt idx="261">
                  <c:v>2380</c:v>
                </c:pt>
                <c:pt idx="262">
                  <c:v>2313</c:v>
                </c:pt>
                <c:pt idx="263">
                  <c:v>1835</c:v>
                </c:pt>
                <c:pt idx="264">
                  <c:v>1747</c:v>
                </c:pt>
                <c:pt idx="265">
                  <c:v>1811</c:v>
                </c:pt>
                <c:pt idx="266">
                  <c:v>1725</c:v>
                </c:pt>
                <c:pt idx="267">
                  <c:v>1748</c:v>
                </c:pt>
                <c:pt idx="268">
                  <c:v>1771</c:v>
                </c:pt>
                <c:pt idx="269">
                  <c:v>1502</c:v>
                </c:pt>
                <c:pt idx="270">
                  <c:v>1352</c:v>
                </c:pt>
                <c:pt idx="271">
                  <c:v>1230</c:v>
                </c:pt>
                <c:pt idx="272">
                  <c:v>1443</c:v>
                </c:pt>
                <c:pt idx="273">
                  <c:v>1617</c:v>
                </c:pt>
                <c:pt idx="274">
                  <c:v>1763</c:v>
                </c:pt>
                <c:pt idx="275">
                  <c:v>1869</c:v>
                </c:pt>
                <c:pt idx="276">
                  <c:v>1535</c:v>
                </c:pt>
                <c:pt idx="277">
                  <c:v>1583</c:v>
                </c:pt>
                <c:pt idx="278">
                  <c:v>1397</c:v>
                </c:pt>
                <c:pt idx="279">
                  <c:v>1434</c:v>
                </c:pt>
                <c:pt idx="280">
                  <c:v>1472</c:v>
                </c:pt>
                <c:pt idx="281">
                  <c:v>1500</c:v>
                </c:pt>
                <c:pt idx="282">
                  <c:v>1524</c:v>
                </c:pt>
                <c:pt idx="283">
                  <c:v>1923</c:v>
                </c:pt>
                <c:pt idx="284">
                  <c:v>1909</c:v>
                </c:pt>
                <c:pt idx="285">
                  <c:v>1575</c:v>
                </c:pt>
                <c:pt idx="286">
                  <c:v>1552</c:v>
                </c:pt>
                <c:pt idx="287">
                  <c:v>1772</c:v>
                </c:pt>
                <c:pt idx="288">
                  <c:v>1843</c:v>
                </c:pt>
                <c:pt idx="289">
                  <c:v>1817</c:v>
                </c:pt>
                <c:pt idx="290">
                  <c:v>1690</c:v>
                </c:pt>
                <c:pt idx="291">
                  <c:v>1874</c:v>
                </c:pt>
                <c:pt idx="292">
                  <c:v>1969</c:v>
                </c:pt>
                <c:pt idx="293">
                  <c:v>1882</c:v>
                </c:pt>
                <c:pt idx="294">
                  <c:v>1725</c:v>
                </c:pt>
                <c:pt idx="295">
                  <c:v>1957</c:v>
                </c:pt>
                <c:pt idx="296">
                  <c:v>2127</c:v>
                </c:pt>
                <c:pt idx="297">
                  <c:v>1911</c:v>
                </c:pt>
                <c:pt idx="298">
                  <c:v>1821</c:v>
                </c:pt>
                <c:pt idx="299">
                  <c:v>1894</c:v>
                </c:pt>
                <c:pt idx="300">
                  <c:v>1735</c:v>
                </c:pt>
                <c:pt idx="301">
                  <c:v>1785</c:v>
                </c:pt>
                <c:pt idx="302">
                  <c:v>2171</c:v>
                </c:pt>
                <c:pt idx="303">
                  <c:v>2283</c:v>
                </c:pt>
                <c:pt idx="304">
                  <c:v>1780</c:v>
                </c:pt>
                <c:pt idx="305">
                  <c:v>1601</c:v>
                </c:pt>
                <c:pt idx="306">
                  <c:v>1364</c:v>
                </c:pt>
                <c:pt idx="307">
                  <c:v>1478</c:v>
                </c:pt>
                <c:pt idx="308">
                  <c:v>1882</c:v>
                </c:pt>
                <c:pt idx="309">
                  <c:v>2015</c:v>
                </c:pt>
                <c:pt idx="310">
                  <c:v>2157</c:v>
                </c:pt>
                <c:pt idx="311">
                  <c:v>2363</c:v>
                </c:pt>
                <c:pt idx="312">
                  <c:v>1845</c:v>
                </c:pt>
                <c:pt idx="313">
                  <c:v>1578</c:v>
                </c:pt>
                <c:pt idx="314">
                  <c:v>1507</c:v>
                </c:pt>
                <c:pt idx="315">
                  <c:v>1412</c:v>
                </c:pt>
                <c:pt idx="316">
                  <c:v>1639</c:v>
                </c:pt>
                <c:pt idx="317">
                  <c:v>1689</c:v>
                </c:pt>
                <c:pt idx="318">
                  <c:v>1517</c:v>
                </c:pt>
                <c:pt idx="319">
                  <c:v>1652</c:v>
                </c:pt>
                <c:pt idx="320">
                  <c:v>1581</c:v>
                </c:pt>
                <c:pt idx="321">
                  <c:v>1473</c:v>
                </c:pt>
                <c:pt idx="322">
                  <c:v>1522</c:v>
                </c:pt>
                <c:pt idx="323">
                  <c:v>1455</c:v>
                </c:pt>
                <c:pt idx="324">
                  <c:v>1643</c:v>
                </c:pt>
                <c:pt idx="325">
                  <c:v>1506</c:v>
                </c:pt>
                <c:pt idx="326">
                  <c:v>1546</c:v>
                </c:pt>
                <c:pt idx="327">
                  <c:v>1527</c:v>
                </c:pt>
                <c:pt idx="328">
                  <c:v>1690</c:v>
                </c:pt>
                <c:pt idx="329">
                  <c:v>1559</c:v>
                </c:pt>
                <c:pt idx="330">
                  <c:v>1665</c:v>
                </c:pt>
                <c:pt idx="331">
                  <c:v>1779</c:v>
                </c:pt>
                <c:pt idx="332">
                  <c:v>1646</c:v>
                </c:pt>
                <c:pt idx="333">
                  <c:v>1504</c:v>
                </c:pt>
                <c:pt idx="334">
                  <c:v>1559</c:v>
                </c:pt>
                <c:pt idx="335">
                  <c:v>1595</c:v>
                </c:pt>
                <c:pt idx="336">
                  <c:v>1678</c:v>
                </c:pt>
                <c:pt idx="337">
                  <c:v>1963</c:v>
                </c:pt>
                <c:pt idx="338">
                  <c:v>1828</c:v>
                </c:pt>
                <c:pt idx="339">
                  <c:v>1705</c:v>
                </c:pt>
                <c:pt idx="340">
                  <c:v>1602</c:v>
                </c:pt>
                <c:pt idx="341">
                  <c:v>1697</c:v>
                </c:pt>
                <c:pt idx="342">
                  <c:v>1585</c:v>
                </c:pt>
                <c:pt idx="343">
                  <c:v>1489</c:v>
                </c:pt>
                <c:pt idx="344">
                  <c:v>1754</c:v>
                </c:pt>
                <c:pt idx="345">
                  <c:v>1931</c:v>
                </c:pt>
                <c:pt idx="346">
                  <c:v>1821</c:v>
                </c:pt>
                <c:pt idx="347">
                  <c:v>1584</c:v>
                </c:pt>
                <c:pt idx="348">
                  <c:v>1515</c:v>
                </c:pt>
                <c:pt idx="349">
                  <c:v>1433</c:v>
                </c:pt>
                <c:pt idx="350">
                  <c:v>1463</c:v>
                </c:pt>
                <c:pt idx="351">
                  <c:v>1605</c:v>
                </c:pt>
                <c:pt idx="352">
                  <c:v>1592</c:v>
                </c:pt>
                <c:pt idx="353">
                  <c:v>1351</c:v>
                </c:pt>
                <c:pt idx="354">
                  <c:v>1415</c:v>
                </c:pt>
                <c:pt idx="355">
                  <c:v>1351</c:v>
                </c:pt>
                <c:pt idx="356">
                  <c:v>1325</c:v>
                </c:pt>
                <c:pt idx="357">
                  <c:v>1302</c:v>
                </c:pt>
                <c:pt idx="358">
                  <c:v>1428</c:v>
                </c:pt>
                <c:pt idx="359">
                  <c:v>1712</c:v>
                </c:pt>
                <c:pt idx="360">
                  <c:v>1488</c:v>
                </c:pt>
                <c:pt idx="361">
                  <c:v>1665</c:v>
                </c:pt>
                <c:pt idx="362">
                  <c:v>1628</c:v>
                </c:pt>
                <c:pt idx="363">
                  <c:v>1651</c:v>
                </c:pt>
                <c:pt idx="364">
                  <c:v>1474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B941-4C38-820B-4E48CA645C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45048623"/>
        <c:axId val="1845051535"/>
      </c:lineChart>
      <c:dateAx>
        <c:axId val="-955199408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 val="autoZero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Revenue (in USD)</a:t>
                </a:r>
                <a:endParaRPr lang="en-IN" b="1"/>
              </a:p>
            </c:rich>
          </c:tx>
          <c:layout>
            <c:manualLayout>
              <c:xMode val="edge"/>
              <c:yMode val="edge"/>
              <c:x val="1.7067833942136307E-2"/>
              <c:y val="0.214663826403764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1845051535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b="1" dirty="0">
                    <a:solidFill>
                      <a:schemeClr val="tx1"/>
                    </a:solidFill>
                  </a:rPr>
                  <a:t>Apps Installe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5048623"/>
        <c:crosses val="max"/>
        <c:crossBetween val="between"/>
      </c:valAx>
      <c:dateAx>
        <c:axId val="1845048623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45051535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0694705740619502"/>
          <c:y val="0.89284803780649413"/>
          <c:w val="0.18610588518760998"/>
          <c:h val="6.44093085870944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b="1" dirty="0"/>
              <a:t>Game</a:t>
            </a:r>
            <a:r>
              <a:rPr lang="en-GB" b="1" baseline="0" dirty="0"/>
              <a:t> Update Indicator</a:t>
            </a:r>
            <a:endParaRPr lang="en-IN" b="1" dirty="0"/>
          </a:p>
        </c:rich>
      </c:tx>
      <c:layout>
        <c:manualLayout>
          <c:xMode val="edge"/>
          <c:yMode val="edge"/>
          <c:x val="0.46483659012354128"/>
          <c:y val="2.19395608287280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3772287053831154E-2"/>
          <c:y val="4.0427375674112087E-2"/>
          <c:w val="0.91050260000183725"/>
          <c:h val="0.7438664575002709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ame Update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accent6"/>
              </a:solidFill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General</c:formatCode>
                <c:ptCount val="365"/>
                <c:pt idx="49">
                  <c:v>8849.6099999999897</c:v>
                </c:pt>
                <c:pt idx="70">
                  <c:v>10205.19999999999</c:v>
                </c:pt>
                <c:pt idx="77">
                  <c:v>9536.6699999999928</c:v>
                </c:pt>
                <c:pt idx="112">
                  <c:v>11025.999999999995</c:v>
                </c:pt>
                <c:pt idx="126">
                  <c:v>12157.659999999987</c:v>
                </c:pt>
                <c:pt idx="133">
                  <c:v>14030.559999999992</c:v>
                </c:pt>
                <c:pt idx="140">
                  <c:v>17136.029999999992</c:v>
                </c:pt>
                <c:pt idx="154">
                  <c:v>14707.149999999994</c:v>
                </c:pt>
                <c:pt idx="161">
                  <c:v>18451.449999999993</c:v>
                </c:pt>
                <c:pt idx="168">
                  <c:v>24682.640000000029</c:v>
                </c:pt>
                <c:pt idx="182">
                  <c:v>29710.340000000026</c:v>
                </c:pt>
                <c:pt idx="196">
                  <c:v>30513.610000000011</c:v>
                </c:pt>
                <c:pt idx="203">
                  <c:v>28476.970000000041</c:v>
                </c:pt>
                <c:pt idx="210">
                  <c:v>18541.569999999989</c:v>
                </c:pt>
                <c:pt idx="217">
                  <c:v>26831.10000000002</c:v>
                </c:pt>
                <c:pt idx="231">
                  <c:v>25916.130000000034</c:v>
                </c:pt>
                <c:pt idx="252">
                  <c:v>24431.850000000042</c:v>
                </c:pt>
                <c:pt idx="259">
                  <c:v>27972.890000000029</c:v>
                </c:pt>
                <c:pt idx="273">
                  <c:v>26065.360000000015</c:v>
                </c:pt>
                <c:pt idx="294">
                  <c:v>20250.670000000013</c:v>
                </c:pt>
                <c:pt idx="301">
                  <c:v>22356.74000000002</c:v>
                </c:pt>
                <c:pt idx="308">
                  <c:v>26004.740000000023</c:v>
                </c:pt>
                <c:pt idx="350">
                  <c:v>28770.4200000000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84-46EF-915D-0DE7F85AB4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1047246352"/>
        <c:axId val="-10472425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Revenu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General</c:formatCode>
                <c:ptCount val="365"/>
                <c:pt idx="0">
                  <c:v>9553.9899999999925</c:v>
                </c:pt>
                <c:pt idx="1">
                  <c:v>6558.8999999999951</c:v>
                </c:pt>
                <c:pt idx="2">
                  <c:v>5754.8999999999896</c:v>
                </c:pt>
                <c:pt idx="3">
                  <c:v>4173.0599999999949</c:v>
                </c:pt>
                <c:pt idx="4">
                  <c:v>3007.0099999999984</c:v>
                </c:pt>
                <c:pt idx="5">
                  <c:v>2880.3800000000006</c:v>
                </c:pt>
                <c:pt idx="6">
                  <c:v>5346.3399999999929</c:v>
                </c:pt>
                <c:pt idx="7">
                  <c:v>8343.0099999999911</c:v>
                </c:pt>
                <c:pt idx="8">
                  <c:v>7722.8799999999956</c:v>
                </c:pt>
                <c:pt idx="9">
                  <c:v>4272.5299999999943</c:v>
                </c:pt>
                <c:pt idx="10">
                  <c:v>3459.8899999999958</c:v>
                </c:pt>
                <c:pt idx="11">
                  <c:v>4104.1699999999964</c:v>
                </c:pt>
                <c:pt idx="12">
                  <c:v>4336.0799999999945</c:v>
                </c:pt>
                <c:pt idx="13">
                  <c:v>5489.3499999999949</c:v>
                </c:pt>
                <c:pt idx="14">
                  <c:v>10728.109999999991</c:v>
                </c:pt>
                <c:pt idx="15">
                  <c:v>7610.1099999999942</c:v>
                </c:pt>
                <c:pt idx="16">
                  <c:v>5320.2599999999939</c:v>
                </c:pt>
                <c:pt idx="17">
                  <c:v>5713.9599999999955</c:v>
                </c:pt>
                <c:pt idx="18">
                  <c:v>6855.4999999999936</c:v>
                </c:pt>
                <c:pt idx="19">
                  <c:v>6414.6999999999889</c:v>
                </c:pt>
                <c:pt idx="20">
                  <c:v>5173.2399999999952</c:v>
                </c:pt>
                <c:pt idx="21">
                  <c:v>6166.2699999999959</c:v>
                </c:pt>
                <c:pt idx="22">
                  <c:v>3591.7899999999959</c:v>
                </c:pt>
                <c:pt idx="23">
                  <c:v>4921.1999999999953</c:v>
                </c:pt>
                <c:pt idx="24">
                  <c:v>3603.709999999995</c:v>
                </c:pt>
                <c:pt idx="25">
                  <c:v>3761.1599999999949</c:v>
                </c:pt>
                <c:pt idx="26">
                  <c:v>6132.4999999999936</c:v>
                </c:pt>
                <c:pt idx="27">
                  <c:v>5184.9199999999937</c:v>
                </c:pt>
                <c:pt idx="28">
                  <c:v>8794.1099999999933</c:v>
                </c:pt>
                <c:pt idx="29">
                  <c:v>6126.5299999999897</c:v>
                </c:pt>
                <c:pt idx="30">
                  <c:v>5910.229999999995</c:v>
                </c:pt>
                <c:pt idx="31">
                  <c:v>3572.1199999999953</c:v>
                </c:pt>
                <c:pt idx="32">
                  <c:v>4661.3299999999954</c:v>
                </c:pt>
                <c:pt idx="33">
                  <c:v>3160.0699999999952</c:v>
                </c:pt>
                <c:pt idx="34">
                  <c:v>5331.1099999999924</c:v>
                </c:pt>
                <c:pt idx="35">
                  <c:v>5444.0999999999913</c:v>
                </c:pt>
                <c:pt idx="36">
                  <c:v>6063.9599999999928</c:v>
                </c:pt>
                <c:pt idx="37">
                  <c:v>5061.5499999999929</c:v>
                </c:pt>
                <c:pt idx="38">
                  <c:v>3953.1499999999924</c:v>
                </c:pt>
                <c:pt idx="39">
                  <c:v>3590.4499999999971</c:v>
                </c:pt>
                <c:pt idx="40">
                  <c:v>4427.7499999999964</c:v>
                </c:pt>
                <c:pt idx="41">
                  <c:v>5241.0199999999959</c:v>
                </c:pt>
                <c:pt idx="42">
                  <c:v>6441.4999999999891</c:v>
                </c:pt>
                <c:pt idx="43">
                  <c:v>7238.8799999999901</c:v>
                </c:pt>
                <c:pt idx="44">
                  <c:v>5956.2999999999884</c:v>
                </c:pt>
                <c:pt idx="45">
                  <c:v>5277.6199999999953</c:v>
                </c:pt>
                <c:pt idx="46">
                  <c:v>4914.4899999999961</c:v>
                </c:pt>
                <c:pt idx="47">
                  <c:v>6242.6499999999915</c:v>
                </c:pt>
                <c:pt idx="48">
                  <c:v>6348.7799999999934</c:v>
                </c:pt>
                <c:pt idx="49">
                  <c:v>8849.6099999999897</c:v>
                </c:pt>
                <c:pt idx="50">
                  <c:v>5732.1899999999914</c:v>
                </c:pt>
                <c:pt idx="51">
                  <c:v>4849.9299999999912</c:v>
                </c:pt>
                <c:pt idx="52">
                  <c:v>4273.0399999999927</c:v>
                </c:pt>
                <c:pt idx="53">
                  <c:v>4806.5199999999932</c:v>
                </c:pt>
                <c:pt idx="54">
                  <c:v>6225.7499999999945</c:v>
                </c:pt>
                <c:pt idx="55">
                  <c:v>4705.3399999999947</c:v>
                </c:pt>
                <c:pt idx="56">
                  <c:v>11059.419999999986</c:v>
                </c:pt>
                <c:pt idx="57">
                  <c:v>5583.9399999999923</c:v>
                </c:pt>
                <c:pt idx="58">
                  <c:v>9041.2299999999941</c:v>
                </c:pt>
                <c:pt idx="59">
                  <c:v>6825.769999999995</c:v>
                </c:pt>
                <c:pt idx="60">
                  <c:v>7556.4799999999923</c:v>
                </c:pt>
                <c:pt idx="61">
                  <c:v>7524.2399999999898</c:v>
                </c:pt>
                <c:pt idx="62">
                  <c:v>7461.3099999999922</c:v>
                </c:pt>
                <c:pt idx="63">
                  <c:v>9442.809999999994</c:v>
                </c:pt>
                <c:pt idx="64">
                  <c:v>7187.8999999999905</c:v>
                </c:pt>
                <c:pt idx="65">
                  <c:v>5316.9199999999919</c:v>
                </c:pt>
                <c:pt idx="66">
                  <c:v>4640.2699999999968</c:v>
                </c:pt>
                <c:pt idx="67">
                  <c:v>7149.0199999999923</c:v>
                </c:pt>
                <c:pt idx="68">
                  <c:v>7935.5099999999911</c:v>
                </c:pt>
                <c:pt idx="69">
                  <c:v>8699.7299999999941</c:v>
                </c:pt>
                <c:pt idx="70">
                  <c:v>10205.19999999999</c:v>
                </c:pt>
                <c:pt idx="71">
                  <c:v>7214.0699999999906</c:v>
                </c:pt>
                <c:pt idx="72">
                  <c:v>4225.4599999999955</c:v>
                </c:pt>
                <c:pt idx="73">
                  <c:v>3802.9599999999959</c:v>
                </c:pt>
                <c:pt idx="74">
                  <c:v>4146.5499999999956</c:v>
                </c:pt>
                <c:pt idx="75">
                  <c:v>4958.1799999999967</c:v>
                </c:pt>
                <c:pt idx="76">
                  <c:v>10733.599999999986</c:v>
                </c:pt>
                <c:pt idx="77">
                  <c:v>9536.6699999999928</c:v>
                </c:pt>
                <c:pt idx="78">
                  <c:v>7645.2599999999875</c:v>
                </c:pt>
                <c:pt idx="79">
                  <c:v>5570.799999999992</c:v>
                </c:pt>
                <c:pt idx="80">
                  <c:v>3925.9699999999962</c:v>
                </c:pt>
                <c:pt idx="81">
                  <c:v>8009.5599999999968</c:v>
                </c:pt>
                <c:pt idx="82">
                  <c:v>5886.1599999999944</c:v>
                </c:pt>
                <c:pt idx="83">
                  <c:v>8561.0799999999927</c:v>
                </c:pt>
                <c:pt idx="84">
                  <c:v>9139.9899999999907</c:v>
                </c:pt>
                <c:pt idx="85">
                  <c:v>6949.1899999999914</c:v>
                </c:pt>
                <c:pt idx="86">
                  <c:v>5030.0299999999916</c:v>
                </c:pt>
                <c:pt idx="87">
                  <c:v>4242.5599999999977</c:v>
                </c:pt>
                <c:pt idx="88">
                  <c:v>6939.1199999999899</c:v>
                </c:pt>
                <c:pt idx="89">
                  <c:v>6156.2799999999934</c:v>
                </c:pt>
                <c:pt idx="90">
                  <c:v>7427.9599999999946</c:v>
                </c:pt>
                <c:pt idx="91">
                  <c:v>8939.5099999999929</c:v>
                </c:pt>
                <c:pt idx="92">
                  <c:v>7128.7599999999902</c:v>
                </c:pt>
                <c:pt idx="93">
                  <c:v>7305.799999999992</c:v>
                </c:pt>
                <c:pt idx="94">
                  <c:v>7749.0499999999902</c:v>
                </c:pt>
                <c:pt idx="95">
                  <c:v>6577.5999999999913</c:v>
                </c:pt>
                <c:pt idx="96">
                  <c:v>6661.3199999999906</c:v>
                </c:pt>
                <c:pt idx="97">
                  <c:v>6679.3099999999931</c:v>
                </c:pt>
                <c:pt idx="98">
                  <c:v>10595.819999999994</c:v>
                </c:pt>
                <c:pt idx="99">
                  <c:v>7047.639999999994</c:v>
                </c:pt>
                <c:pt idx="100">
                  <c:v>5613.1099999999933</c:v>
                </c:pt>
                <c:pt idx="101">
                  <c:v>6013.6599999999917</c:v>
                </c:pt>
                <c:pt idx="102">
                  <c:v>6027.1099999999933</c:v>
                </c:pt>
                <c:pt idx="103">
                  <c:v>7572.1099999999915</c:v>
                </c:pt>
                <c:pt idx="104">
                  <c:v>6997.5399999999918</c:v>
                </c:pt>
                <c:pt idx="105">
                  <c:v>10849.769999999988</c:v>
                </c:pt>
                <c:pt idx="106">
                  <c:v>7823.20999999999</c:v>
                </c:pt>
                <c:pt idx="107">
                  <c:v>5461.4299999999921</c:v>
                </c:pt>
                <c:pt idx="108">
                  <c:v>4368.6599999999944</c:v>
                </c:pt>
                <c:pt idx="109">
                  <c:v>5443.7899999999927</c:v>
                </c:pt>
                <c:pt idx="110">
                  <c:v>6162.1599999999953</c:v>
                </c:pt>
                <c:pt idx="111">
                  <c:v>10815.949999999986</c:v>
                </c:pt>
                <c:pt idx="112">
                  <c:v>11025.999999999995</c:v>
                </c:pt>
                <c:pt idx="113">
                  <c:v>6992.5899999999947</c:v>
                </c:pt>
                <c:pt idx="114">
                  <c:v>8896.6499999999942</c:v>
                </c:pt>
                <c:pt idx="115">
                  <c:v>5680.2399999999934</c:v>
                </c:pt>
                <c:pt idx="116">
                  <c:v>8777.3199999999943</c:v>
                </c:pt>
                <c:pt idx="117">
                  <c:v>11511.569999999983</c:v>
                </c:pt>
                <c:pt idx="118">
                  <c:v>9963.9999999999891</c:v>
                </c:pt>
                <c:pt idx="119">
                  <c:v>14548.649999999987</c:v>
                </c:pt>
                <c:pt idx="120">
                  <c:v>11971.739999999989</c:v>
                </c:pt>
                <c:pt idx="121">
                  <c:v>12041.729999999989</c:v>
                </c:pt>
                <c:pt idx="122">
                  <c:v>7616.9599999999919</c:v>
                </c:pt>
                <c:pt idx="123">
                  <c:v>11562.979999999987</c:v>
                </c:pt>
                <c:pt idx="124">
                  <c:v>11288.189999999988</c:v>
                </c:pt>
                <c:pt idx="125">
                  <c:v>12098.429999999984</c:v>
                </c:pt>
                <c:pt idx="126">
                  <c:v>12157.659999999987</c:v>
                </c:pt>
                <c:pt idx="127">
                  <c:v>13970.609999999984</c:v>
                </c:pt>
                <c:pt idx="128">
                  <c:v>11873.209999999986</c:v>
                </c:pt>
                <c:pt idx="129">
                  <c:v>7726.3999999999933</c:v>
                </c:pt>
                <c:pt idx="130">
                  <c:v>9998.1499999999905</c:v>
                </c:pt>
                <c:pt idx="131">
                  <c:v>10927.849999999989</c:v>
                </c:pt>
                <c:pt idx="132">
                  <c:v>9976.049999999992</c:v>
                </c:pt>
                <c:pt idx="133">
                  <c:v>14030.559999999992</c:v>
                </c:pt>
                <c:pt idx="134">
                  <c:v>14878.759999999984</c:v>
                </c:pt>
                <c:pt idx="135">
                  <c:v>9247.5599999999922</c:v>
                </c:pt>
                <c:pt idx="136">
                  <c:v>14479.839999999984</c:v>
                </c:pt>
                <c:pt idx="137">
                  <c:v>11443.449999999988</c:v>
                </c:pt>
                <c:pt idx="138">
                  <c:v>9683.0399999999918</c:v>
                </c:pt>
                <c:pt idx="139">
                  <c:v>11252.949999999992</c:v>
                </c:pt>
                <c:pt idx="140">
                  <c:v>17136.029999999992</c:v>
                </c:pt>
                <c:pt idx="141">
                  <c:v>12829.739999999983</c:v>
                </c:pt>
                <c:pt idx="142">
                  <c:v>9539.5599999999886</c:v>
                </c:pt>
                <c:pt idx="143">
                  <c:v>8074.6999999999889</c:v>
                </c:pt>
                <c:pt idx="144">
                  <c:v>9124.0399999999918</c:v>
                </c:pt>
                <c:pt idx="145">
                  <c:v>7920.8799999999919</c:v>
                </c:pt>
                <c:pt idx="146">
                  <c:v>11071.809999999989</c:v>
                </c:pt>
                <c:pt idx="147">
                  <c:v>16215.109999999988</c:v>
                </c:pt>
                <c:pt idx="148">
                  <c:v>15085.15999999998</c:v>
                </c:pt>
                <c:pt idx="149">
                  <c:v>10344.379999999986</c:v>
                </c:pt>
                <c:pt idx="150">
                  <c:v>12078.339999999984</c:v>
                </c:pt>
                <c:pt idx="151">
                  <c:v>13787.749999999989</c:v>
                </c:pt>
                <c:pt idx="152">
                  <c:v>13043.50999999998</c:v>
                </c:pt>
                <c:pt idx="153">
                  <c:v>15269.319999999989</c:v>
                </c:pt>
                <c:pt idx="154">
                  <c:v>14707.149999999994</c:v>
                </c:pt>
                <c:pt idx="155">
                  <c:v>12823.43999999999</c:v>
                </c:pt>
                <c:pt idx="156">
                  <c:v>12296.259999999982</c:v>
                </c:pt>
                <c:pt idx="157">
                  <c:v>8532.3499999999913</c:v>
                </c:pt>
                <c:pt idx="158">
                  <c:v>15376.109999999984</c:v>
                </c:pt>
                <c:pt idx="159">
                  <c:v>11615.479999999983</c:v>
                </c:pt>
                <c:pt idx="160">
                  <c:v>11510.449999999983</c:v>
                </c:pt>
                <c:pt idx="161">
                  <c:v>18451.449999999993</c:v>
                </c:pt>
                <c:pt idx="162">
                  <c:v>11052.539999999981</c:v>
                </c:pt>
                <c:pt idx="163">
                  <c:v>8579.5399999999881</c:v>
                </c:pt>
                <c:pt idx="164">
                  <c:v>10632.889999999983</c:v>
                </c:pt>
                <c:pt idx="165">
                  <c:v>15741.639999999985</c:v>
                </c:pt>
                <c:pt idx="166">
                  <c:v>30816.510000000017</c:v>
                </c:pt>
                <c:pt idx="167">
                  <c:v>25301.340000000018</c:v>
                </c:pt>
                <c:pt idx="168">
                  <c:v>24682.640000000029</c:v>
                </c:pt>
                <c:pt idx="169">
                  <c:v>22510.200000000012</c:v>
                </c:pt>
                <c:pt idx="170">
                  <c:v>19743.220000000008</c:v>
                </c:pt>
                <c:pt idx="171">
                  <c:v>13725.699999999981</c:v>
                </c:pt>
                <c:pt idx="172">
                  <c:v>12943.01999999997</c:v>
                </c:pt>
                <c:pt idx="173">
                  <c:v>15952.189999999991</c:v>
                </c:pt>
                <c:pt idx="174">
                  <c:v>18648.799999999996</c:v>
                </c:pt>
                <c:pt idx="175">
                  <c:v>20721.190000000017</c:v>
                </c:pt>
                <c:pt idx="176">
                  <c:v>13892.819999999991</c:v>
                </c:pt>
                <c:pt idx="177">
                  <c:v>16570.159999999985</c:v>
                </c:pt>
                <c:pt idx="178">
                  <c:v>15224.509999999986</c:v>
                </c:pt>
                <c:pt idx="179">
                  <c:v>18051.609999999997</c:v>
                </c:pt>
                <c:pt idx="180">
                  <c:v>17641.539999999997</c:v>
                </c:pt>
                <c:pt idx="181">
                  <c:v>25451.570000000011</c:v>
                </c:pt>
                <c:pt idx="182">
                  <c:v>29710.340000000026</c:v>
                </c:pt>
                <c:pt idx="183">
                  <c:v>22539.750000000011</c:v>
                </c:pt>
                <c:pt idx="184">
                  <c:v>18018.349999999988</c:v>
                </c:pt>
                <c:pt idx="185">
                  <c:v>21809.510000000024</c:v>
                </c:pt>
                <c:pt idx="186">
                  <c:v>14724.849999999984</c:v>
                </c:pt>
                <c:pt idx="187">
                  <c:v>14349.189999999995</c:v>
                </c:pt>
                <c:pt idx="188">
                  <c:v>15468.109999999981</c:v>
                </c:pt>
                <c:pt idx="189">
                  <c:v>25498.76000000002</c:v>
                </c:pt>
                <c:pt idx="190">
                  <c:v>21500.80000000001</c:v>
                </c:pt>
                <c:pt idx="191">
                  <c:v>19141.400000000001</c:v>
                </c:pt>
                <c:pt idx="192">
                  <c:v>14693.769999999977</c:v>
                </c:pt>
                <c:pt idx="193">
                  <c:v>15824.469999999981</c:v>
                </c:pt>
                <c:pt idx="194">
                  <c:v>23377.040000000012</c:v>
                </c:pt>
                <c:pt idx="195">
                  <c:v>20800.230000000007</c:v>
                </c:pt>
                <c:pt idx="196">
                  <c:v>30513.610000000011</c:v>
                </c:pt>
                <c:pt idx="197">
                  <c:v>23393.600000000017</c:v>
                </c:pt>
                <c:pt idx="198">
                  <c:v>20784.440000000006</c:v>
                </c:pt>
                <c:pt idx="199">
                  <c:v>16972.799999999985</c:v>
                </c:pt>
                <c:pt idx="200">
                  <c:v>22689.940000000021</c:v>
                </c:pt>
                <c:pt idx="201">
                  <c:v>20293.120000000014</c:v>
                </c:pt>
                <c:pt idx="202">
                  <c:v>21950.720000000012</c:v>
                </c:pt>
                <c:pt idx="203">
                  <c:v>28476.970000000041</c:v>
                </c:pt>
                <c:pt idx="204">
                  <c:v>18025.629999999986</c:v>
                </c:pt>
                <c:pt idx="205">
                  <c:v>12505.109999999984</c:v>
                </c:pt>
                <c:pt idx="206">
                  <c:v>16287.729999999987</c:v>
                </c:pt>
                <c:pt idx="207">
                  <c:v>15387.749999999991</c:v>
                </c:pt>
                <c:pt idx="208">
                  <c:v>19158.840000000011</c:v>
                </c:pt>
                <c:pt idx="209">
                  <c:v>22322.280000000028</c:v>
                </c:pt>
                <c:pt idx="210">
                  <c:v>18541.569999999989</c:v>
                </c:pt>
                <c:pt idx="211">
                  <c:v>16218.049999999981</c:v>
                </c:pt>
                <c:pt idx="212">
                  <c:v>16207.359999999988</c:v>
                </c:pt>
                <c:pt idx="213">
                  <c:v>13352.119999999984</c:v>
                </c:pt>
                <c:pt idx="214">
                  <c:v>15703.029999999979</c:v>
                </c:pt>
                <c:pt idx="215">
                  <c:v>18854.239999999983</c:v>
                </c:pt>
                <c:pt idx="216">
                  <c:v>18342.989999999994</c:v>
                </c:pt>
                <c:pt idx="217">
                  <c:v>26831.10000000002</c:v>
                </c:pt>
                <c:pt idx="218">
                  <c:v>19503.749999999989</c:v>
                </c:pt>
                <c:pt idx="219">
                  <c:v>14976.549999999977</c:v>
                </c:pt>
                <c:pt idx="220">
                  <c:v>13064.679999999978</c:v>
                </c:pt>
                <c:pt idx="221">
                  <c:v>19057.860000000004</c:v>
                </c:pt>
                <c:pt idx="222">
                  <c:v>23385.610000000015</c:v>
                </c:pt>
                <c:pt idx="223">
                  <c:v>24295.070000000029</c:v>
                </c:pt>
                <c:pt idx="224">
                  <c:v>21235.470000000016</c:v>
                </c:pt>
                <c:pt idx="225">
                  <c:v>19302.589999999989</c:v>
                </c:pt>
                <c:pt idx="226">
                  <c:v>16186.01999999999</c:v>
                </c:pt>
                <c:pt idx="227">
                  <c:v>16536.409999999989</c:v>
                </c:pt>
                <c:pt idx="228">
                  <c:v>17445.939999999988</c:v>
                </c:pt>
                <c:pt idx="229">
                  <c:v>18487.339999999997</c:v>
                </c:pt>
                <c:pt idx="230">
                  <c:v>19963.250000000025</c:v>
                </c:pt>
                <c:pt idx="231">
                  <c:v>25916.130000000034</c:v>
                </c:pt>
                <c:pt idx="232">
                  <c:v>17618.899999999994</c:v>
                </c:pt>
                <c:pt idx="233">
                  <c:v>17006.059999999983</c:v>
                </c:pt>
                <c:pt idx="234">
                  <c:v>15136.199999999975</c:v>
                </c:pt>
                <c:pt idx="235">
                  <c:v>17966.30999999999</c:v>
                </c:pt>
                <c:pt idx="236">
                  <c:v>16495.789999999979</c:v>
                </c:pt>
                <c:pt idx="237">
                  <c:v>19567.490000000013</c:v>
                </c:pt>
                <c:pt idx="238">
                  <c:v>24751.590000000015</c:v>
                </c:pt>
                <c:pt idx="239">
                  <c:v>19246.57</c:v>
                </c:pt>
                <c:pt idx="240">
                  <c:v>17092.169999999991</c:v>
                </c:pt>
                <c:pt idx="241">
                  <c:v>15091.969999999981</c:v>
                </c:pt>
                <c:pt idx="242">
                  <c:v>20334.770000000022</c:v>
                </c:pt>
                <c:pt idx="243">
                  <c:v>20646.110000000011</c:v>
                </c:pt>
                <c:pt idx="244">
                  <c:v>22282.660000000047</c:v>
                </c:pt>
                <c:pt idx="245">
                  <c:v>26604.730000000036</c:v>
                </c:pt>
                <c:pt idx="246">
                  <c:v>17848.709999999988</c:v>
                </c:pt>
                <c:pt idx="247">
                  <c:v>14695.839999999986</c:v>
                </c:pt>
                <c:pt idx="248">
                  <c:v>18310.089999999997</c:v>
                </c:pt>
                <c:pt idx="249">
                  <c:v>17174.019999999979</c:v>
                </c:pt>
                <c:pt idx="250">
                  <c:v>17255.899999999994</c:v>
                </c:pt>
                <c:pt idx="251">
                  <c:v>20511.210000000014</c:v>
                </c:pt>
                <c:pt idx="252">
                  <c:v>24431.850000000042</c:v>
                </c:pt>
                <c:pt idx="253">
                  <c:v>22149.930000000018</c:v>
                </c:pt>
                <c:pt idx="254">
                  <c:v>22064.970000000016</c:v>
                </c:pt>
                <c:pt idx="255">
                  <c:v>21948.140000000029</c:v>
                </c:pt>
                <c:pt idx="256">
                  <c:v>22564.160000000014</c:v>
                </c:pt>
                <c:pt idx="257">
                  <c:v>21483.510000000028</c:v>
                </c:pt>
                <c:pt idx="258">
                  <c:v>21666.980000000014</c:v>
                </c:pt>
                <c:pt idx="259">
                  <c:v>27972.890000000029</c:v>
                </c:pt>
                <c:pt idx="260">
                  <c:v>21367.580000000027</c:v>
                </c:pt>
                <c:pt idx="261">
                  <c:v>19303.669999999995</c:v>
                </c:pt>
                <c:pt idx="262">
                  <c:v>18706.049999999988</c:v>
                </c:pt>
                <c:pt idx="263">
                  <c:v>21513.000000000036</c:v>
                </c:pt>
                <c:pt idx="264">
                  <c:v>19807.180000000004</c:v>
                </c:pt>
                <c:pt idx="265">
                  <c:v>23613.530000000021</c:v>
                </c:pt>
                <c:pt idx="266">
                  <c:v>33043.950000000033</c:v>
                </c:pt>
                <c:pt idx="267">
                  <c:v>23619.360000000019</c:v>
                </c:pt>
                <c:pt idx="268">
                  <c:v>21071.880000000016</c:v>
                </c:pt>
                <c:pt idx="269">
                  <c:v>21298.960000000014</c:v>
                </c:pt>
                <c:pt idx="270">
                  <c:v>23784.800000000025</c:v>
                </c:pt>
                <c:pt idx="271">
                  <c:v>18618.250000000007</c:v>
                </c:pt>
                <c:pt idx="272">
                  <c:v>26046.710000000028</c:v>
                </c:pt>
                <c:pt idx="273">
                  <c:v>26065.360000000015</c:v>
                </c:pt>
                <c:pt idx="274">
                  <c:v>27451.470000000038</c:v>
                </c:pt>
                <c:pt idx="275">
                  <c:v>20725.87000000001</c:v>
                </c:pt>
                <c:pt idx="276">
                  <c:v>22404.760000000031</c:v>
                </c:pt>
                <c:pt idx="277">
                  <c:v>21278.35000000002</c:v>
                </c:pt>
                <c:pt idx="278">
                  <c:v>23306.640000000021</c:v>
                </c:pt>
                <c:pt idx="279">
                  <c:v>24681.40000000002</c:v>
                </c:pt>
                <c:pt idx="280">
                  <c:v>24393.450000000033</c:v>
                </c:pt>
                <c:pt idx="281">
                  <c:v>20234.260000000009</c:v>
                </c:pt>
                <c:pt idx="282">
                  <c:v>20213.310000000023</c:v>
                </c:pt>
                <c:pt idx="283">
                  <c:v>18677.739999999983</c:v>
                </c:pt>
                <c:pt idx="284">
                  <c:v>19163.720000000012</c:v>
                </c:pt>
                <c:pt idx="285">
                  <c:v>18602.759999999995</c:v>
                </c:pt>
                <c:pt idx="286">
                  <c:v>20699.050000000021</c:v>
                </c:pt>
                <c:pt idx="287">
                  <c:v>32820.28000000005</c:v>
                </c:pt>
                <c:pt idx="288">
                  <c:v>23392.790000000012</c:v>
                </c:pt>
                <c:pt idx="289">
                  <c:v>20404.270000000033</c:v>
                </c:pt>
                <c:pt idx="290">
                  <c:v>18973.450000000008</c:v>
                </c:pt>
                <c:pt idx="291">
                  <c:v>23156.780000000053</c:v>
                </c:pt>
                <c:pt idx="292">
                  <c:v>16434.249999999975</c:v>
                </c:pt>
                <c:pt idx="293">
                  <c:v>20984.74000000002</c:v>
                </c:pt>
                <c:pt idx="294">
                  <c:v>20250.670000000013</c:v>
                </c:pt>
                <c:pt idx="295">
                  <c:v>23857.890000000036</c:v>
                </c:pt>
                <c:pt idx="296">
                  <c:v>18869.239999999987</c:v>
                </c:pt>
                <c:pt idx="297">
                  <c:v>16469.839999999989</c:v>
                </c:pt>
                <c:pt idx="298">
                  <c:v>16754.54999999997</c:v>
                </c:pt>
                <c:pt idx="299">
                  <c:v>15074.559999999974</c:v>
                </c:pt>
                <c:pt idx="300">
                  <c:v>19277.339999999997</c:v>
                </c:pt>
                <c:pt idx="301">
                  <c:v>22356.74000000002</c:v>
                </c:pt>
                <c:pt idx="302">
                  <c:v>22083.070000000022</c:v>
                </c:pt>
                <c:pt idx="303">
                  <c:v>18770.050000000007</c:v>
                </c:pt>
                <c:pt idx="304">
                  <c:v>19046.910000000011</c:v>
                </c:pt>
                <c:pt idx="305">
                  <c:v>23670.529999999992</c:v>
                </c:pt>
                <c:pt idx="306">
                  <c:v>21430.930000000015</c:v>
                </c:pt>
                <c:pt idx="307">
                  <c:v>20843.990000000016</c:v>
                </c:pt>
                <c:pt idx="308">
                  <c:v>26004.740000000023</c:v>
                </c:pt>
                <c:pt idx="309">
                  <c:v>23312.130000000026</c:v>
                </c:pt>
                <c:pt idx="310">
                  <c:v>20079.830000000009</c:v>
                </c:pt>
                <c:pt idx="311">
                  <c:v>20362.560000000023</c:v>
                </c:pt>
                <c:pt idx="312">
                  <c:v>17723.35999999999</c:v>
                </c:pt>
                <c:pt idx="313">
                  <c:v>15622.499999999975</c:v>
                </c:pt>
                <c:pt idx="314">
                  <c:v>21139.770000000019</c:v>
                </c:pt>
                <c:pt idx="315">
                  <c:v>27717.830000000031</c:v>
                </c:pt>
                <c:pt idx="316">
                  <c:v>18406.399999999991</c:v>
                </c:pt>
                <c:pt idx="317">
                  <c:v>16092.339999999971</c:v>
                </c:pt>
                <c:pt idx="318">
                  <c:v>17337.649999999983</c:v>
                </c:pt>
                <c:pt idx="319">
                  <c:v>20213.450000000019</c:v>
                </c:pt>
                <c:pt idx="320">
                  <c:v>20013.860000000022</c:v>
                </c:pt>
                <c:pt idx="321">
                  <c:v>21275.780000000013</c:v>
                </c:pt>
                <c:pt idx="322">
                  <c:v>24354.150000000016</c:v>
                </c:pt>
                <c:pt idx="323">
                  <c:v>25860.850000000017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0000000027</c:v>
                </c:pt>
                <c:pt idx="327">
                  <c:v>20972.440000000017</c:v>
                </c:pt>
                <c:pt idx="328">
                  <c:v>22306.850000000035</c:v>
                </c:pt>
                <c:pt idx="329">
                  <c:v>25349.02000000003</c:v>
                </c:pt>
                <c:pt idx="330">
                  <c:v>22696.12</c:v>
                </c:pt>
                <c:pt idx="331">
                  <c:v>15978.08999999998</c:v>
                </c:pt>
                <c:pt idx="332">
                  <c:v>17436.459999999988</c:v>
                </c:pt>
                <c:pt idx="333">
                  <c:v>16321.839999999975</c:v>
                </c:pt>
                <c:pt idx="334">
                  <c:v>20305.000000000022</c:v>
                </c:pt>
                <c:pt idx="335">
                  <c:v>25578.170000000038</c:v>
                </c:pt>
                <c:pt idx="336">
                  <c:v>29145.130000000034</c:v>
                </c:pt>
                <c:pt idx="337">
                  <c:v>27869.580000000031</c:v>
                </c:pt>
                <c:pt idx="338">
                  <c:v>24449.550000000021</c:v>
                </c:pt>
                <c:pt idx="339">
                  <c:v>17599.579999999976</c:v>
                </c:pt>
                <c:pt idx="340">
                  <c:v>18018.459999999974</c:v>
                </c:pt>
                <c:pt idx="341">
                  <c:v>17586.68</c:v>
                </c:pt>
                <c:pt idx="342">
                  <c:v>23905.110000000041</c:v>
                </c:pt>
                <c:pt idx="343">
                  <c:v>24258.470000000038</c:v>
                </c:pt>
                <c:pt idx="344">
                  <c:v>25037.270000000026</c:v>
                </c:pt>
                <c:pt idx="345">
                  <c:v>20716.810000000005</c:v>
                </c:pt>
                <c:pt idx="346">
                  <c:v>16930.369999999984</c:v>
                </c:pt>
                <c:pt idx="347">
                  <c:v>17308.779999999977</c:v>
                </c:pt>
                <c:pt idx="348">
                  <c:v>20118.870000000021</c:v>
                </c:pt>
                <c:pt idx="349">
                  <c:v>24932.310000000019</c:v>
                </c:pt>
                <c:pt idx="350">
                  <c:v>28770.420000000042</c:v>
                </c:pt>
                <c:pt idx="351">
                  <c:v>25351.010000000006</c:v>
                </c:pt>
                <c:pt idx="352">
                  <c:v>20215.960000000036</c:v>
                </c:pt>
                <c:pt idx="353">
                  <c:v>17363.349999999988</c:v>
                </c:pt>
                <c:pt idx="354">
                  <c:v>19548.540000000005</c:v>
                </c:pt>
                <c:pt idx="355">
                  <c:v>17682.329999999994</c:v>
                </c:pt>
                <c:pt idx="356">
                  <c:v>18745.330000000005</c:v>
                </c:pt>
                <c:pt idx="357">
                  <c:v>29639.220000000041</c:v>
                </c:pt>
                <c:pt idx="358">
                  <c:v>25426.93000000004</c:v>
                </c:pt>
                <c:pt idx="359">
                  <c:v>20853.220000000012</c:v>
                </c:pt>
                <c:pt idx="360">
                  <c:v>18639.729999999985</c:v>
                </c:pt>
                <c:pt idx="361">
                  <c:v>19712.140000000021</c:v>
                </c:pt>
                <c:pt idx="362">
                  <c:v>17940.459999999988</c:v>
                </c:pt>
                <c:pt idx="363">
                  <c:v>20797.710000000006</c:v>
                </c:pt>
                <c:pt idx="364">
                  <c:v>27055.760000000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384-46EF-915D-0DE7F85AB4A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ame Update2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7"/>
            <c:spPr>
              <a:solidFill>
                <a:schemeClr val="bg1"/>
              </a:solidFill>
              <a:ln w="19050">
                <a:solidFill>
                  <a:schemeClr val="accent6"/>
                </a:solidFill>
              </a:ln>
              <a:effectLst/>
            </c:spPr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D$2:$D$366</c:f>
              <c:numCache>
                <c:formatCode>General</c:formatCode>
                <c:ptCount val="365"/>
                <c:pt idx="49">
                  <c:v>8849.6099999999897</c:v>
                </c:pt>
                <c:pt idx="70">
                  <c:v>10205.19999999999</c:v>
                </c:pt>
                <c:pt idx="77">
                  <c:v>9536.6699999999928</c:v>
                </c:pt>
                <c:pt idx="112">
                  <c:v>11025.999999999995</c:v>
                </c:pt>
                <c:pt idx="126">
                  <c:v>12157.659999999987</c:v>
                </c:pt>
                <c:pt idx="133">
                  <c:v>14030.559999999992</c:v>
                </c:pt>
                <c:pt idx="140">
                  <c:v>17136.029999999992</c:v>
                </c:pt>
                <c:pt idx="154">
                  <c:v>14707.149999999994</c:v>
                </c:pt>
                <c:pt idx="161">
                  <c:v>18451.449999999993</c:v>
                </c:pt>
                <c:pt idx="168">
                  <c:v>24682.640000000029</c:v>
                </c:pt>
                <c:pt idx="182">
                  <c:v>29710.340000000026</c:v>
                </c:pt>
                <c:pt idx="196">
                  <c:v>30513.610000000011</c:v>
                </c:pt>
                <c:pt idx="203">
                  <c:v>28476.970000000041</c:v>
                </c:pt>
                <c:pt idx="210">
                  <c:v>18541.569999999989</c:v>
                </c:pt>
                <c:pt idx="217">
                  <c:v>26831.10000000002</c:v>
                </c:pt>
                <c:pt idx="231">
                  <c:v>25916.130000000034</c:v>
                </c:pt>
                <c:pt idx="252">
                  <c:v>24431.850000000042</c:v>
                </c:pt>
                <c:pt idx="259">
                  <c:v>27972.890000000029</c:v>
                </c:pt>
                <c:pt idx="273">
                  <c:v>26065.360000000015</c:v>
                </c:pt>
                <c:pt idx="294">
                  <c:v>20250.670000000013</c:v>
                </c:pt>
                <c:pt idx="301">
                  <c:v>22356.74000000002</c:v>
                </c:pt>
                <c:pt idx="308">
                  <c:v>26004.740000000023</c:v>
                </c:pt>
                <c:pt idx="350">
                  <c:v>28770.4200000000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384-46EF-915D-0DE7F85AB4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047246352"/>
        <c:axId val="-1047242544"/>
      </c:lineChart>
      <c:dateAx>
        <c:axId val="-1047246352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0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047242544"/>
        <c:crosses val="autoZero"/>
        <c:auto val="1"/>
        <c:lblOffset val="100"/>
        <c:baseTimeUnit val="days"/>
        <c:minorUnit val="10"/>
      </c:dateAx>
      <c:valAx>
        <c:axId val="-104724254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 dirty="0"/>
                  <a:t>Revenue (in USD)</a:t>
                </a:r>
                <a:endParaRPr lang="en-IN" b="1" dirty="0"/>
              </a:p>
            </c:rich>
          </c:tx>
          <c:layout>
            <c:manualLayout>
              <c:xMode val="edge"/>
              <c:yMode val="edge"/>
              <c:x val="1.0941743007398143E-2"/>
              <c:y val="0.3414802215067365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0" spcFirstLastPara="1" vertOverflow="ellipsis" wrap="square" anchor="b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04724635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egendEntry>
        <c:idx val="2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j-ea"/>
                <a:cs typeface="+mj-cs"/>
              </a:rPr>
              <a:t>Google Mobi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647250685203459E-2"/>
          <c:y val="0.1110100897260959"/>
          <c:w val="0.85009385801103066"/>
          <c:h val="0.58994024767250741"/>
        </c:manualLayout>
      </c:layou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Revenu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D$2:$D$366</c:f>
              <c:numCache>
                <c:formatCode>General</c:formatCode>
                <c:ptCount val="365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AA1-45EC-BCFA-1BB762F40F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sidential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#,##0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1</c:v>
                </c:pt>
                <c:pt idx="109">
                  <c:v>1</c:v>
                </c:pt>
                <c:pt idx="110">
                  <c:v>0.8</c:v>
                </c:pt>
                <c:pt idx="111">
                  <c:v>0.83299999999999996</c:v>
                </c:pt>
                <c:pt idx="112">
                  <c:v>0.71399999999999997</c:v>
                </c:pt>
                <c:pt idx="113">
                  <c:v>0.71399999999999997</c:v>
                </c:pt>
                <c:pt idx="114">
                  <c:v>0.71399999999999997</c:v>
                </c:pt>
                <c:pt idx="115">
                  <c:v>0</c:v>
                </c:pt>
                <c:pt idx="116">
                  <c:v>-0.14299999999999999</c:v>
                </c:pt>
                <c:pt idx="117">
                  <c:v>-0.28599999999999998</c:v>
                </c:pt>
                <c:pt idx="118">
                  <c:v>-0.42899999999999999</c:v>
                </c:pt>
                <c:pt idx="119">
                  <c:v>-0.57099999999999995</c:v>
                </c:pt>
                <c:pt idx="120">
                  <c:v>-0.71399999999999997</c:v>
                </c:pt>
                <c:pt idx="121">
                  <c:v>-0.71399999999999997</c:v>
                </c:pt>
                <c:pt idx="122">
                  <c:v>-0.85699999999999998</c:v>
                </c:pt>
                <c:pt idx="123">
                  <c:v>-1</c:v>
                </c:pt>
                <c:pt idx="124">
                  <c:v>-1</c:v>
                </c:pt>
                <c:pt idx="125">
                  <c:v>-1.143</c:v>
                </c:pt>
                <c:pt idx="126">
                  <c:v>-1.143</c:v>
                </c:pt>
                <c:pt idx="127">
                  <c:v>-1</c:v>
                </c:pt>
                <c:pt idx="128">
                  <c:v>-1</c:v>
                </c:pt>
                <c:pt idx="129">
                  <c:v>-0.85699999999999998</c:v>
                </c:pt>
                <c:pt idx="130">
                  <c:v>-0.57099999999999995</c:v>
                </c:pt>
                <c:pt idx="131">
                  <c:v>-0.42899999999999999</c:v>
                </c:pt>
                <c:pt idx="132">
                  <c:v>-0.14299999999999999</c:v>
                </c:pt>
                <c:pt idx="133">
                  <c:v>0.42899999999999999</c:v>
                </c:pt>
                <c:pt idx="134">
                  <c:v>1</c:v>
                </c:pt>
                <c:pt idx="135">
                  <c:v>1.571</c:v>
                </c:pt>
                <c:pt idx="136">
                  <c:v>2.714</c:v>
                </c:pt>
                <c:pt idx="137">
                  <c:v>4.1429999999999998</c:v>
                </c:pt>
                <c:pt idx="138">
                  <c:v>6</c:v>
                </c:pt>
                <c:pt idx="139">
                  <c:v>8</c:v>
                </c:pt>
                <c:pt idx="140">
                  <c:v>9.8569999999999993</c:v>
                </c:pt>
                <c:pt idx="141">
                  <c:v>11.143000000000001</c:v>
                </c:pt>
                <c:pt idx="142">
                  <c:v>12.286</c:v>
                </c:pt>
                <c:pt idx="143">
                  <c:v>13.571</c:v>
                </c:pt>
                <c:pt idx="144">
                  <c:v>14.714</c:v>
                </c:pt>
                <c:pt idx="145">
                  <c:v>15.571</c:v>
                </c:pt>
                <c:pt idx="146">
                  <c:v>16.286000000000001</c:v>
                </c:pt>
                <c:pt idx="147">
                  <c:v>17</c:v>
                </c:pt>
                <c:pt idx="148">
                  <c:v>17.428999999999998</c:v>
                </c:pt>
                <c:pt idx="149">
                  <c:v>17.571000000000002</c:v>
                </c:pt>
                <c:pt idx="150">
                  <c:v>17.856999999999999</c:v>
                </c:pt>
                <c:pt idx="151">
                  <c:v>18</c:v>
                </c:pt>
                <c:pt idx="152">
                  <c:v>18.143000000000001</c:v>
                </c:pt>
                <c:pt idx="153">
                  <c:v>18.286000000000001</c:v>
                </c:pt>
                <c:pt idx="154">
                  <c:v>18.428999999999998</c:v>
                </c:pt>
                <c:pt idx="155">
                  <c:v>18.428999999999998</c:v>
                </c:pt>
                <c:pt idx="156">
                  <c:v>18.571000000000002</c:v>
                </c:pt>
                <c:pt idx="157">
                  <c:v>18.713999999999999</c:v>
                </c:pt>
                <c:pt idx="158">
                  <c:v>18.856999999999999</c:v>
                </c:pt>
                <c:pt idx="159">
                  <c:v>19</c:v>
                </c:pt>
                <c:pt idx="160">
                  <c:v>19.143000000000001</c:v>
                </c:pt>
                <c:pt idx="161">
                  <c:v>19.428999999999998</c:v>
                </c:pt>
                <c:pt idx="162">
                  <c:v>19.286000000000001</c:v>
                </c:pt>
                <c:pt idx="163">
                  <c:v>19.286000000000001</c:v>
                </c:pt>
                <c:pt idx="164">
                  <c:v>19.428999999999998</c:v>
                </c:pt>
                <c:pt idx="165">
                  <c:v>19.286000000000001</c:v>
                </c:pt>
                <c:pt idx="166">
                  <c:v>19.143000000000001</c:v>
                </c:pt>
                <c:pt idx="167">
                  <c:v>19</c:v>
                </c:pt>
                <c:pt idx="168">
                  <c:v>18.713999999999999</c:v>
                </c:pt>
                <c:pt idx="169">
                  <c:v>18.713999999999999</c:v>
                </c:pt>
                <c:pt idx="170">
                  <c:v>18.428999999999998</c:v>
                </c:pt>
                <c:pt idx="171">
                  <c:v>18.143000000000001</c:v>
                </c:pt>
                <c:pt idx="172">
                  <c:v>18.143000000000001</c:v>
                </c:pt>
                <c:pt idx="173">
                  <c:v>18.143000000000001</c:v>
                </c:pt>
                <c:pt idx="174">
                  <c:v>18.143000000000001</c:v>
                </c:pt>
                <c:pt idx="175">
                  <c:v>18</c:v>
                </c:pt>
                <c:pt idx="176">
                  <c:v>17.713999999999999</c:v>
                </c:pt>
                <c:pt idx="177">
                  <c:v>17.713999999999999</c:v>
                </c:pt>
                <c:pt idx="178">
                  <c:v>17.571000000000002</c:v>
                </c:pt>
                <c:pt idx="179">
                  <c:v>16.428999999999998</c:v>
                </c:pt>
                <c:pt idx="180">
                  <c:v>16.286000000000001</c:v>
                </c:pt>
                <c:pt idx="181">
                  <c:v>16</c:v>
                </c:pt>
                <c:pt idx="182">
                  <c:v>15.571</c:v>
                </c:pt>
                <c:pt idx="183">
                  <c:v>15.286</c:v>
                </c:pt>
                <c:pt idx="184">
                  <c:v>14.856999999999999</c:v>
                </c:pt>
                <c:pt idx="185">
                  <c:v>14.571</c:v>
                </c:pt>
                <c:pt idx="186">
                  <c:v>15.286</c:v>
                </c:pt>
                <c:pt idx="187">
                  <c:v>15</c:v>
                </c:pt>
                <c:pt idx="188">
                  <c:v>14.714</c:v>
                </c:pt>
                <c:pt idx="189">
                  <c:v>14.714</c:v>
                </c:pt>
                <c:pt idx="190">
                  <c:v>14.571</c:v>
                </c:pt>
                <c:pt idx="191">
                  <c:v>14.429</c:v>
                </c:pt>
                <c:pt idx="192">
                  <c:v>14.429</c:v>
                </c:pt>
                <c:pt idx="193">
                  <c:v>14.286</c:v>
                </c:pt>
                <c:pt idx="194">
                  <c:v>14.143000000000001</c:v>
                </c:pt>
                <c:pt idx="195">
                  <c:v>14.143000000000001</c:v>
                </c:pt>
                <c:pt idx="196">
                  <c:v>13.856999999999999</c:v>
                </c:pt>
                <c:pt idx="197">
                  <c:v>13.856999999999999</c:v>
                </c:pt>
                <c:pt idx="198">
                  <c:v>14</c:v>
                </c:pt>
                <c:pt idx="199">
                  <c:v>13.856999999999999</c:v>
                </c:pt>
                <c:pt idx="200">
                  <c:v>13.714</c:v>
                </c:pt>
                <c:pt idx="201">
                  <c:v>13.571</c:v>
                </c:pt>
                <c:pt idx="202">
                  <c:v>13.286</c:v>
                </c:pt>
                <c:pt idx="203">
                  <c:v>13.143000000000001</c:v>
                </c:pt>
                <c:pt idx="204">
                  <c:v>12.856999999999999</c:v>
                </c:pt>
                <c:pt idx="205">
                  <c:v>12.429</c:v>
                </c:pt>
                <c:pt idx="206">
                  <c:v>13.143000000000001</c:v>
                </c:pt>
                <c:pt idx="207">
                  <c:v>13</c:v>
                </c:pt>
                <c:pt idx="208">
                  <c:v>12.856999999999999</c:v>
                </c:pt>
                <c:pt idx="209">
                  <c:v>12.714</c:v>
                </c:pt>
                <c:pt idx="210">
                  <c:v>12.571</c:v>
                </c:pt>
                <c:pt idx="211">
                  <c:v>12.429</c:v>
                </c:pt>
                <c:pt idx="212">
                  <c:v>12.429</c:v>
                </c:pt>
                <c:pt idx="213">
                  <c:v>11.286</c:v>
                </c:pt>
                <c:pt idx="214">
                  <c:v>11.143000000000001</c:v>
                </c:pt>
                <c:pt idx="215">
                  <c:v>11</c:v>
                </c:pt>
                <c:pt idx="216">
                  <c:v>10.856999999999999</c:v>
                </c:pt>
                <c:pt idx="217">
                  <c:v>10.714</c:v>
                </c:pt>
                <c:pt idx="218">
                  <c:v>10.571</c:v>
                </c:pt>
                <c:pt idx="219">
                  <c:v>10.429</c:v>
                </c:pt>
                <c:pt idx="220">
                  <c:v>10.286</c:v>
                </c:pt>
                <c:pt idx="221">
                  <c:v>10.143000000000001</c:v>
                </c:pt>
                <c:pt idx="222">
                  <c:v>10</c:v>
                </c:pt>
                <c:pt idx="223">
                  <c:v>9.8569999999999993</c:v>
                </c:pt>
                <c:pt idx="224">
                  <c:v>9.5709999999999997</c:v>
                </c:pt>
                <c:pt idx="225">
                  <c:v>9.4290000000000003</c:v>
                </c:pt>
                <c:pt idx="226">
                  <c:v>9.2859999999999996</c:v>
                </c:pt>
                <c:pt idx="227">
                  <c:v>9.2859999999999996</c:v>
                </c:pt>
                <c:pt idx="228">
                  <c:v>9.1430000000000007</c:v>
                </c:pt>
                <c:pt idx="229">
                  <c:v>9</c:v>
                </c:pt>
                <c:pt idx="230">
                  <c:v>8.8569999999999993</c:v>
                </c:pt>
                <c:pt idx="231">
                  <c:v>8.5709999999999997</c:v>
                </c:pt>
                <c:pt idx="232">
                  <c:v>8.4290000000000003</c:v>
                </c:pt>
                <c:pt idx="233">
                  <c:v>8.2859999999999996</c:v>
                </c:pt>
                <c:pt idx="234">
                  <c:v>8.2859999999999996</c:v>
                </c:pt>
                <c:pt idx="235">
                  <c:v>8.2859999999999996</c:v>
                </c:pt>
                <c:pt idx="236">
                  <c:v>8.2859999999999996</c:v>
                </c:pt>
                <c:pt idx="237">
                  <c:v>8.2859999999999996</c:v>
                </c:pt>
                <c:pt idx="238">
                  <c:v>8.5709999999999997</c:v>
                </c:pt>
                <c:pt idx="239">
                  <c:v>8.7140000000000004</c:v>
                </c:pt>
                <c:pt idx="240">
                  <c:v>8.8569999999999993</c:v>
                </c:pt>
                <c:pt idx="241">
                  <c:v>8.7140000000000004</c:v>
                </c:pt>
                <c:pt idx="242">
                  <c:v>8.7140000000000004</c:v>
                </c:pt>
                <c:pt idx="243">
                  <c:v>8.5709999999999997</c:v>
                </c:pt>
                <c:pt idx="244">
                  <c:v>8.4290000000000003</c:v>
                </c:pt>
                <c:pt idx="245">
                  <c:v>8.8569999999999993</c:v>
                </c:pt>
                <c:pt idx="246">
                  <c:v>9</c:v>
                </c:pt>
                <c:pt idx="247">
                  <c:v>9</c:v>
                </c:pt>
                <c:pt idx="248">
                  <c:v>9.1430000000000007</c:v>
                </c:pt>
                <c:pt idx="249">
                  <c:v>9.1430000000000007</c:v>
                </c:pt>
                <c:pt idx="250">
                  <c:v>9.2859999999999996</c:v>
                </c:pt>
                <c:pt idx="251">
                  <c:v>9.4290000000000003</c:v>
                </c:pt>
                <c:pt idx="252">
                  <c:v>9</c:v>
                </c:pt>
                <c:pt idx="253">
                  <c:v>8.8569999999999993</c:v>
                </c:pt>
                <c:pt idx="254">
                  <c:v>8.8569999999999993</c:v>
                </c:pt>
                <c:pt idx="255">
                  <c:v>8.7140000000000004</c:v>
                </c:pt>
                <c:pt idx="256">
                  <c:v>8.7140000000000004</c:v>
                </c:pt>
                <c:pt idx="257">
                  <c:v>8.7140000000000004</c:v>
                </c:pt>
                <c:pt idx="258">
                  <c:v>8.7140000000000004</c:v>
                </c:pt>
                <c:pt idx="259">
                  <c:v>8.7140000000000004</c:v>
                </c:pt>
                <c:pt idx="260">
                  <c:v>8.7140000000000004</c:v>
                </c:pt>
                <c:pt idx="261">
                  <c:v>8.7140000000000004</c:v>
                </c:pt>
                <c:pt idx="262">
                  <c:v>8.7140000000000004</c:v>
                </c:pt>
                <c:pt idx="263">
                  <c:v>8.7140000000000004</c:v>
                </c:pt>
                <c:pt idx="264">
                  <c:v>8.7140000000000004</c:v>
                </c:pt>
                <c:pt idx="265">
                  <c:v>8.7140000000000004</c:v>
                </c:pt>
                <c:pt idx="266">
                  <c:v>8.7140000000000004</c:v>
                </c:pt>
                <c:pt idx="267">
                  <c:v>8.7140000000000004</c:v>
                </c:pt>
                <c:pt idx="268">
                  <c:v>8.7140000000000004</c:v>
                </c:pt>
                <c:pt idx="269">
                  <c:v>8.7140000000000004</c:v>
                </c:pt>
                <c:pt idx="270">
                  <c:v>8.7140000000000004</c:v>
                </c:pt>
                <c:pt idx="271">
                  <c:v>8.5709999999999997</c:v>
                </c:pt>
                <c:pt idx="272">
                  <c:v>8.5709999999999997</c:v>
                </c:pt>
                <c:pt idx="273">
                  <c:v>8.4290000000000003</c:v>
                </c:pt>
                <c:pt idx="274">
                  <c:v>8.4290000000000003</c:v>
                </c:pt>
                <c:pt idx="275">
                  <c:v>8.4290000000000003</c:v>
                </c:pt>
                <c:pt idx="276">
                  <c:v>8.4290000000000003</c:v>
                </c:pt>
                <c:pt idx="277">
                  <c:v>8.4290000000000003</c:v>
                </c:pt>
                <c:pt idx="278">
                  <c:v>8.4290000000000003</c:v>
                </c:pt>
                <c:pt idx="279">
                  <c:v>8.2859999999999996</c:v>
                </c:pt>
                <c:pt idx="280">
                  <c:v>8.2859999999999996</c:v>
                </c:pt>
                <c:pt idx="281">
                  <c:v>8.1430000000000007</c:v>
                </c:pt>
                <c:pt idx="282">
                  <c:v>8</c:v>
                </c:pt>
                <c:pt idx="283">
                  <c:v>7.8570000000000002</c:v>
                </c:pt>
                <c:pt idx="284">
                  <c:v>7.7140000000000004</c:v>
                </c:pt>
                <c:pt idx="285">
                  <c:v>7.7140000000000004</c:v>
                </c:pt>
                <c:pt idx="286">
                  <c:v>7.7140000000000004</c:v>
                </c:pt>
                <c:pt idx="287">
                  <c:v>7.7140000000000004</c:v>
                </c:pt>
                <c:pt idx="288">
                  <c:v>7.7140000000000004</c:v>
                </c:pt>
                <c:pt idx="289">
                  <c:v>7.8570000000000002</c:v>
                </c:pt>
                <c:pt idx="290">
                  <c:v>7.8570000000000002</c:v>
                </c:pt>
                <c:pt idx="291">
                  <c:v>7.8570000000000002</c:v>
                </c:pt>
                <c:pt idx="292">
                  <c:v>7.8570000000000002</c:v>
                </c:pt>
                <c:pt idx="293">
                  <c:v>7.8570000000000002</c:v>
                </c:pt>
                <c:pt idx="294">
                  <c:v>7.7140000000000004</c:v>
                </c:pt>
                <c:pt idx="295">
                  <c:v>7.7140000000000004</c:v>
                </c:pt>
                <c:pt idx="296">
                  <c:v>7.7140000000000004</c:v>
                </c:pt>
                <c:pt idx="297">
                  <c:v>7.8570000000000002</c:v>
                </c:pt>
                <c:pt idx="298">
                  <c:v>7.8570000000000002</c:v>
                </c:pt>
                <c:pt idx="299">
                  <c:v>7.8570000000000002</c:v>
                </c:pt>
                <c:pt idx="300">
                  <c:v>7.8570000000000002</c:v>
                </c:pt>
                <c:pt idx="301">
                  <c:v>7.8570000000000002</c:v>
                </c:pt>
                <c:pt idx="302">
                  <c:v>8</c:v>
                </c:pt>
                <c:pt idx="303">
                  <c:v>7.8570000000000002</c:v>
                </c:pt>
                <c:pt idx="304">
                  <c:v>7.7140000000000004</c:v>
                </c:pt>
                <c:pt idx="305">
                  <c:v>7.5709999999999997</c:v>
                </c:pt>
                <c:pt idx="306">
                  <c:v>7.4290000000000003</c:v>
                </c:pt>
                <c:pt idx="307">
                  <c:v>7.1429999999999998</c:v>
                </c:pt>
                <c:pt idx="308">
                  <c:v>7</c:v>
                </c:pt>
                <c:pt idx="309">
                  <c:v>6.7140000000000004</c:v>
                </c:pt>
                <c:pt idx="310">
                  <c:v>6.5709999999999997</c:v>
                </c:pt>
                <c:pt idx="311">
                  <c:v>7.5709999999999997</c:v>
                </c:pt>
                <c:pt idx="312">
                  <c:v>7.5709999999999997</c:v>
                </c:pt>
                <c:pt idx="313">
                  <c:v>7.5709999999999997</c:v>
                </c:pt>
                <c:pt idx="314">
                  <c:v>7.7140000000000004</c:v>
                </c:pt>
                <c:pt idx="315">
                  <c:v>7.7140000000000004</c:v>
                </c:pt>
                <c:pt idx="316">
                  <c:v>7.8570000000000002</c:v>
                </c:pt>
                <c:pt idx="317">
                  <c:v>8.1430000000000007</c:v>
                </c:pt>
                <c:pt idx="318">
                  <c:v>7</c:v>
                </c:pt>
                <c:pt idx="319">
                  <c:v>7</c:v>
                </c:pt>
                <c:pt idx="320">
                  <c:v>7</c:v>
                </c:pt>
                <c:pt idx="321">
                  <c:v>7</c:v>
                </c:pt>
                <c:pt idx="322">
                  <c:v>7</c:v>
                </c:pt>
                <c:pt idx="323">
                  <c:v>6.8570000000000002</c:v>
                </c:pt>
                <c:pt idx="324">
                  <c:v>6.7140000000000004</c:v>
                </c:pt>
                <c:pt idx="325">
                  <c:v>6.8570000000000002</c:v>
                </c:pt>
                <c:pt idx="326">
                  <c:v>6.8570000000000002</c:v>
                </c:pt>
                <c:pt idx="327">
                  <c:v>6.8570000000000002</c:v>
                </c:pt>
                <c:pt idx="328">
                  <c:v>6.8570000000000002</c:v>
                </c:pt>
                <c:pt idx="329">
                  <c:v>6.8570000000000002</c:v>
                </c:pt>
                <c:pt idx="330">
                  <c:v>6.8570000000000002</c:v>
                </c:pt>
                <c:pt idx="331">
                  <c:v>6.8570000000000002</c:v>
                </c:pt>
                <c:pt idx="332">
                  <c:v>6.8570000000000002</c:v>
                </c:pt>
                <c:pt idx="333">
                  <c:v>6.8570000000000002</c:v>
                </c:pt>
                <c:pt idx="334">
                  <c:v>6.7140000000000004</c:v>
                </c:pt>
                <c:pt idx="335">
                  <c:v>6.5709999999999997</c:v>
                </c:pt>
                <c:pt idx="336">
                  <c:v>6.5709999999999997</c:v>
                </c:pt>
                <c:pt idx="337">
                  <c:v>6.5709999999999997</c:v>
                </c:pt>
                <c:pt idx="338">
                  <c:v>6.5709999999999997</c:v>
                </c:pt>
                <c:pt idx="339">
                  <c:v>6.4290000000000003</c:v>
                </c:pt>
                <c:pt idx="340">
                  <c:v>6.2859999999999996</c:v>
                </c:pt>
                <c:pt idx="341">
                  <c:v>6.2859999999999996</c:v>
                </c:pt>
                <c:pt idx="342">
                  <c:v>6.4290000000000003</c:v>
                </c:pt>
                <c:pt idx="343">
                  <c:v>6.4290000000000003</c:v>
                </c:pt>
                <c:pt idx="344">
                  <c:v>6.5709999999999997</c:v>
                </c:pt>
                <c:pt idx="345">
                  <c:v>6.7140000000000004</c:v>
                </c:pt>
                <c:pt idx="346">
                  <c:v>7</c:v>
                </c:pt>
                <c:pt idx="347">
                  <c:v>7.1429999999999998</c:v>
                </c:pt>
                <c:pt idx="348">
                  <c:v>7.2859999999999996</c:v>
                </c:pt>
                <c:pt idx="349">
                  <c:v>7.2859999999999996</c:v>
                </c:pt>
                <c:pt idx="350">
                  <c:v>7.4290000000000003</c:v>
                </c:pt>
                <c:pt idx="351">
                  <c:v>7.4290000000000003</c:v>
                </c:pt>
                <c:pt idx="352">
                  <c:v>7.4290000000000003</c:v>
                </c:pt>
                <c:pt idx="353">
                  <c:v>7.2859999999999996</c:v>
                </c:pt>
                <c:pt idx="354">
                  <c:v>7.2859999999999996</c:v>
                </c:pt>
                <c:pt idx="355">
                  <c:v>7.2859999999999996</c:v>
                </c:pt>
                <c:pt idx="356">
                  <c:v>7.2859999999999996</c:v>
                </c:pt>
                <c:pt idx="357">
                  <c:v>7.2859999999999996</c:v>
                </c:pt>
                <c:pt idx="358">
                  <c:v>7.2859999999999996</c:v>
                </c:pt>
                <c:pt idx="359">
                  <c:v>7.4290000000000003</c:v>
                </c:pt>
                <c:pt idx="360">
                  <c:v>7.5709999999999997</c:v>
                </c:pt>
                <c:pt idx="361">
                  <c:v>7.7140000000000004</c:v>
                </c:pt>
                <c:pt idx="362">
                  <c:v>7.8570000000000002</c:v>
                </c:pt>
                <c:pt idx="363">
                  <c:v>8</c:v>
                </c:pt>
                <c:pt idx="364">
                  <c:v>7.8570000000000002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BF89-40D0-B852-2043576EFC7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rks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General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19.667000000000002</c:v>
                </c:pt>
                <c:pt idx="109">
                  <c:v>16.25</c:v>
                </c:pt>
                <c:pt idx="110">
                  <c:v>14.6</c:v>
                </c:pt>
                <c:pt idx="111">
                  <c:v>12.833</c:v>
                </c:pt>
                <c:pt idx="112">
                  <c:v>11.571</c:v>
                </c:pt>
                <c:pt idx="113">
                  <c:v>12.714</c:v>
                </c:pt>
                <c:pt idx="114">
                  <c:v>13.714</c:v>
                </c:pt>
                <c:pt idx="115">
                  <c:v>11</c:v>
                </c:pt>
                <c:pt idx="116">
                  <c:v>11.429</c:v>
                </c:pt>
                <c:pt idx="117">
                  <c:v>11</c:v>
                </c:pt>
                <c:pt idx="118">
                  <c:v>12.143000000000001</c:v>
                </c:pt>
                <c:pt idx="119">
                  <c:v>13</c:v>
                </c:pt>
                <c:pt idx="120">
                  <c:v>12.714</c:v>
                </c:pt>
                <c:pt idx="121">
                  <c:v>12</c:v>
                </c:pt>
                <c:pt idx="122">
                  <c:v>12.143000000000001</c:v>
                </c:pt>
                <c:pt idx="123">
                  <c:v>13.714</c:v>
                </c:pt>
                <c:pt idx="124">
                  <c:v>15.429</c:v>
                </c:pt>
                <c:pt idx="125">
                  <c:v>16.713999999999999</c:v>
                </c:pt>
                <c:pt idx="126">
                  <c:v>17</c:v>
                </c:pt>
                <c:pt idx="127">
                  <c:v>18.143000000000001</c:v>
                </c:pt>
                <c:pt idx="128">
                  <c:v>21.286000000000001</c:v>
                </c:pt>
                <c:pt idx="129">
                  <c:v>24.286000000000001</c:v>
                </c:pt>
                <c:pt idx="130">
                  <c:v>24</c:v>
                </c:pt>
                <c:pt idx="131">
                  <c:v>25.286000000000001</c:v>
                </c:pt>
                <c:pt idx="132">
                  <c:v>25</c:v>
                </c:pt>
                <c:pt idx="133">
                  <c:v>23.856999999999999</c:v>
                </c:pt>
                <c:pt idx="134">
                  <c:v>20.143000000000001</c:v>
                </c:pt>
                <c:pt idx="135">
                  <c:v>15.143000000000001</c:v>
                </c:pt>
                <c:pt idx="136">
                  <c:v>10.571</c:v>
                </c:pt>
                <c:pt idx="137">
                  <c:v>9.1430000000000007</c:v>
                </c:pt>
                <c:pt idx="138">
                  <c:v>6.2859999999999996</c:v>
                </c:pt>
                <c:pt idx="139">
                  <c:v>3.8570000000000002</c:v>
                </c:pt>
                <c:pt idx="140">
                  <c:v>3</c:v>
                </c:pt>
                <c:pt idx="141">
                  <c:v>2.1429999999999998</c:v>
                </c:pt>
                <c:pt idx="142">
                  <c:v>-0.28599999999999998</c:v>
                </c:pt>
                <c:pt idx="143">
                  <c:v>-3.4289999999999998</c:v>
                </c:pt>
                <c:pt idx="144">
                  <c:v>-6</c:v>
                </c:pt>
                <c:pt idx="145">
                  <c:v>-7.8570000000000002</c:v>
                </c:pt>
                <c:pt idx="146">
                  <c:v>-7.7140000000000004</c:v>
                </c:pt>
                <c:pt idx="147">
                  <c:v>-8.4290000000000003</c:v>
                </c:pt>
                <c:pt idx="148">
                  <c:v>-11.571</c:v>
                </c:pt>
                <c:pt idx="149">
                  <c:v>-12.571</c:v>
                </c:pt>
                <c:pt idx="150">
                  <c:v>-11.429</c:v>
                </c:pt>
                <c:pt idx="151">
                  <c:v>-12.286</c:v>
                </c:pt>
                <c:pt idx="152">
                  <c:v>-12.286</c:v>
                </c:pt>
                <c:pt idx="153">
                  <c:v>-14</c:v>
                </c:pt>
                <c:pt idx="154">
                  <c:v>-16</c:v>
                </c:pt>
                <c:pt idx="155">
                  <c:v>-15.856999999999999</c:v>
                </c:pt>
                <c:pt idx="156">
                  <c:v>-16</c:v>
                </c:pt>
                <c:pt idx="157">
                  <c:v>-15.286</c:v>
                </c:pt>
                <c:pt idx="158">
                  <c:v>-13.286</c:v>
                </c:pt>
                <c:pt idx="159">
                  <c:v>-13.143000000000001</c:v>
                </c:pt>
                <c:pt idx="160">
                  <c:v>-14.856999999999999</c:v>
                </c:pt>
                <c:pt idx="161">
                  <c:v>-14.856999999999999</c:v>
                </c:pt>
                <c:pt idx="162">
                  <c:v>-13.714</c:v>
                </c:pt>
                <c:pt idx="163">
                  <c:v>-16</c:v>
                </c:pt>
                <c:pt idx="164">
                  <c:v>-19</c:v>
                </c:pt>
                <c:pt idx="165">
                  <c:v>-20.856999999999999</c:v>
                </c:pt>
                <c:pt idx="166">
                  <c:v>-22.286000000000001</c:v>
                </c:pt>
                <c:pt idx="167">
                  <c:v>-21.286000000000001</c:v>
                </c:pt>
                <c:pt idx="168">
                  <c:v>-21.428999999999998</c:v>
                </c:pt>
                <c:pt idx="169">
                  <c:v>-22</c:v>
                </c:pt>
                <c:pt idx="170">
                  <c:v>-18.286000000000001</c:v>
                </c:pt>
                <c:pt idx="171">
                  <c:v>-14.856999999999999</c:v>
                </c:pt>
                <c:pt idx="172">
                  <c:v>-13.856999999999999</c:v>
                </c:pt>
                <c:pt idx="173">
                  <c:v>-12.856999999999999</c:v>
                </c:pt>
                <c:pt idx="174">
                  <c:v>-12.856999999999999</c:v>
                </c:pt>
                <c:pt idx="175">
                  <c:v>-11.714</c:v>
                </c:pt>
                <c:pt idx="176">
                  <c:v>-8.5709999999999997</c:v>
                </c:pt>
                <c:pt idx="177">
                  <c:v>-8.7140000000000004</c:v>
                </c:pt>
                <c:pt idx="178">
                  <c:v>-8.2859999999999996</c:v>
                </c:pt>
                <c:pt idx="179">
                  <c:v>-6.2859999999999996</c:v>
                </c:pt>
                <c:pt idx="180">
                  <c:v>-6</c:v>
                </c:pt>
                <c:pt idx="181">
                  <c:v>-5</c:v>
                </c:pt>
                <c:pt idx="182">
                  <c:v>-2</c:v>
                </c:pt>
                <c:pt idx="183">
                  <c:v>1.714</c:v>
                </c:pt>
                <c:pt idx="184">
                  <c:v>6.4290000000000003</c:v>
                </c:pt>
                <c:pt idx="185">
                  <c:v>7.7140000000000004</c:v>
                </c:pt>
                <c:pt idx="186">
                  <c:v>7.5709999999999997</c:v>
                </c:pt>
                <c:pt idx="187">
                  <c:v>9.4290000000000003</c:v>
                </c:pt>
                <c:pt idx="188">
                  <c:v>13.429</c:v>
                </c:pt>
                <c:pt idx="189">
                  <c:v>12.143000000000001</c:v>
                </c:pt>
                <c:pt idx="190">
                  <c:v>9.4290000000000003</c:v>
                </c:pt>
                <c:pt idx="191">
                  <c:v>7.1429999999999998</c:v>
                </c:pt>
                <c:pt idx="192">
                  <c:v>6</c:v>
                </c:pt>
                <c:pt idx="193">
                  <c:v>6.7140000000000004</c:v>
                </c:pt>
                <c:pt idx="194">
                  <c:v>8.4290000000000003</c:v>
                </c:pt>
                <c:pt idx="195">
                  <c:v>7.8570000000000002</c:v>
                </c:pt>
                <c:pt idx="196">
                  <c:v>11.143000000000001</c:v>
                </c:pt>
                <c:pt idx="197">
                  <c:v>14.429</c:v>
                </c:pt>
                <c:pt idx="198">
                  <c:v>16</c:v>
                </c:pt>
                <c:pt idx="199">
                  <c:v>16.713999999999999</c:v>
                </c:pt>
                <c:pt idx="200">
                  <c:v>17.428999999999998</c:v>
                </c:pt>
                <c:pt idx="201">
                  <c:v>18.143000000000001</c:v>
                </c:pt>
                <c:pt idx="202">
                  <c:v>20.143000000000001</c:v>
                </c:pt>
                <c:pt idx="203">
                  <c:v>21.571000000000002</c:v>
                </c:pt>
                <c:pt idx="204">
                  <c:v>23.143000000000001</c:v>
                </c:pt>
                <c:pt idx="205">
                  <c:v>28.856999999999999</c:v>
                </c:pt>
                <c:pt idx="206">
                  <c:v>37.143000000000001</c:v>
                </c:pt>
                <c:pt idx="207">
                  <c:v>39</c:v>
                </c:pt>
                <c:pt idx="208">
                  <c:v>40.286000000000001</c:v>
                </c:pt>
                <c:pt idx="209">
                  <c:v>39.570999999999998</c:v>
                </c:pt>
                <c:pt idx="210">
                  <c:v>39.286000000000001</c:v>
                </c:pt>
                <c:pt idx="211">
                  <c:v>40</c:v>
                </c:pt>
                <c:pt idx="212">
                  <c:v>38.570999999999998</c:v>
                </c:pt>
                <c:pt idx="213">
                  <c:v>34</c:v>
                </c:pt>
                <c:pt idx="214">
                  <c:v>35</c:v>
                </c:pt>
                <c:pt idx="215">
                  <c:v>35.143000000000001</c:v>
                </c:pt>
                <c:pt idx="216">
                  <c:v>37.143000000000001</c:v>
                </c:pt>
                <c:pt idx="217">
                  <c:v>37.856999999999999</c:v>
                </c:pt>
                <c:pt idx="218">
                  <c:v>38.286000000000001</c:v>
                </c:pt>
                <c:pt idx="219">
                  <c:v>39.143000000000001</c:v>
                </c:pt>
                <c:pt idx="220">
                  <c:v>40.713999999999999</c:v>
                </c:pt>
                <c:pt idx="221">
                  <c:v>40.856999999999999</c:v>
                </c:pt>
                <c:pt idx="222">
                  <c:v>41.856999999999999</c:v>
                </c:pt>
                <c:pt idx="223">
                  <c:v>43.143000000000001</c:v>
                </c:pt>
                <c:pt idx="224">
                  <c:v>46.429000000000002</c:v>
                </c:pt>
                <c:pt idx="225">
                  <c:v>49.713999999999999</c:v>
                </c:pt>
                <c:pt idx="226">
                  <c:v>51.856999999999999</c:v>
                </c:pt>
                <c:pt idx="227">
                  <c:v>52.713999999999999</c:v>
                </c:pt>
                <c:pt idx="228">
                  <c:v>55.713999999999999</c:v>
                </c:pt>
                <c:pt idx="229">
                  <c:v>58.286000000000001</c:v>
                </c:pt>
                <c:pt idx="230">
                  <c:v>59.713999999999999</c:v>
                </c:pt>
                <c:pt idx="231">
                  <c:v>60.143000000000001</c:v>
                </c:pt>
                <c:pt idx="232">
                  <c:v>59.429000000000002</c:v>
                </c:pt>
                <c:pt idx="233">
                  <c:v>58.143000000000001</c:v>
                </c:pt>
                <c:pt idx="234">
                  <c:v>57.856999999999999</c:v>
                </c:pt>
                <c:pt idx="235">
                  <c:v>57.429000000000002</c:v>
                </c:pt>
                <c:pt idx="236">
                  <c:v>57.286000000000001</c:v>
                </c:pt>
                <c:pt idx="237">
                  <c:v>58</c:v>
                </c:pt>
                <c:pt idx="238">
                  <c:v>57.570999999999998</c:v>
                </c:pt>
                <c:pt idx="239">
                  <c:v>56.570999999999998</c:v>
                </c:pt>
                <c:pt idx="240">
                  <c:v>56</c:v>
                </c:pt>
                <c:pt idx="241">
                  <c:v>56.429000000000002</c:v>
                </c:pt>
                <c:pt idx="242">
                  <c:v>55.856999999999999</c:v>
                </c:pt>
                <c:pt idx="243">
                  <c:v>55.429000000000002</c:v>
                </c:pt>
                <c:pt idx="244">
                  <c:v>57.286000000000001</c:v>
                </c:pt>
                <c:pt idx="245">
                  <c:v>61.429000000000002</c:v>
                </c:pt>
                <c:pt idx="246">
                  <c:v>64.143000000000001</c:v>
                </c:pt>
                <c:pt idx="247">
                  <c:v>63.856999999999999</c:v>
                </c:pt>
                <c:pt idx="248">
                  <c:v>64.143000000000001</c:v>
                </c:pt>
                <c:pt idx="249">
                  <c:v>64.286000000000001</c:v>
                </c:pt>
                <c:pt idx="250">
                  <c:v>64</c:v>
                </c:pt>
                <c:pt idx="251">
                  <c:v>61.429000000000002</c:v>
                </c:pt>
                <c:pt idx="252">
                  <c:v>55.286000000000001</c:v>
                </c:pt>
                <c:pt idx="253">
                  <c:v>52.570999999999998</c:v>
                </c:pt>
                <c:pt idx="254">
                  <c:v>54.143000000000001</c:v>
                </c:pt>
                <c:pt idx="255">
                  <c:v>54.856999999999999</c:v>
                </c:pt>
                <c:pt idx="256">
                  <c:v>56</c:v>
                </c:pt>
                <c:pt idx="257">
                  <c:v>56.570999999999998</c:v>
                </c:pt>
                <c:pt idx="258">
                  <c:v>57</c:v>
                </c:pt>
                <c:pt idx="259">
                  <c:v>58.570999999999998</c:v>
                </c:pt>
                <c:pt idx="260">
                  <c:v>60.286000000000001</c:v>
                </c:pt>
                <c:pt idx="261">
                  <c:v>59.713999999999999</c:v>
                </c:pt>
                <c:pt idx="262">
                  <c:v>59.429000000000002</c:v>
                </c:pt>
                <c:pt idx="263">
                  <c:v>58.713999999999999</c:v>
                </c:pt>
                <c:pt idx="264">
                  <c:v>57.429000000000002</c:v>
                </c:pt>
                <c:pt idx="265">
                  <c:v>56.429000000000002</c:v>
                </c:pt>
                <c:pt idx="266">
                  <c:v>56.570999999999998</c:v>
                </c:pt>
                <c:pt idx="267">
                  <c:v>57</c:v>
                </c:pt>
                <c:pt idx="268">
                  <c:v>57.713999999999999</c:v>
                </c:pt>
                <c:pt idx="269">
                  <c:v>57.286000000000001</c:v>
                </c:pt>
                <c:pt idx="270">
                  <c:v>57.143000000000001</c:v>
                </c:pt>
                <c:pt idx="271">
                  <c:v>58.429000000000002</c:v>
                </c:pt>
                <c:pt idx="272">
                  <c:v>58.570999999999998</c:v>
                </c:pt>
                <c:pt idx="273">
                  <c:v>58.713999999999999</c:v>
                </c:pt>
                <c:pt idx="274">
                  <c:v>57.570999999999998</c:v>
                </c:pt>
                <c:pt idx="275">
                  <c:v>55.713999999999999</c:v>
                </c:pt>
                <c:pt idx="276">
                  <c:v>55.570999999999998</c:v>
                </c:pt>
                <c:pt idx="277">
                  <c:v>54.856999999999999</c:v>
                </c:pt>
                <c:pt idx="278">
                  <c:v>55.570999999999998</c:v>
                </c:pt>
                <c:pt idx="279">
                  <c:v>56.429000000000002</c:v>
                </c:pt>
                <c:pt idx="280">
                  <c:v>56.570999999999998</c:v>
                </c:pt>
                <c:pt idx="281">
                  <c:v>58</c:v>
                </c:pt>
                <c:pt idx="282">
                  <c:v>60</c:v>
                </c:pt>
                <c:pt idx="283">
                  <c:v>60</c:v>
                </c:pt>
                <c:pt idx="284">
                  <c:v>61.286000000000001</c:v>
                </c:pt>
                <c:pt idx="285">
                  <c:v>59.856999999999999</c:v>
                </c:pt>
                <c:pt idx="286">
                  <c:v>58.570999999999998</c:v>
                </c:pt>
                <c:pt idx="287">
                  <c:v>58</c:v>
                </c:pt>
                <c:pt idx="288">
                  <c:v>56.286000000000001</c:v>
                </c:pt>
                <c:pt idx="289">
                  <c:v>53.713999999999999</c:v>
                </c:pt>
                <c:pt idx="290">
                  <c:v>53</c:v>
                </c:pt>
                <c:pt idx="291">
                  <c:v>52</c:v>
                </c:pt>
                <c:pt idx="292">
                  <c:v>51</c:v>
                </c:pt>
                <c:pt idx="293">
                  <c:v>51</c:v>
                </c:pt>
                <c:pt idx="294">
                  <c:v>50.286000000000001</c:v>
                </c:pt>
                <c:pt idx="295">
                  <c:v>50.143000000000001</c:v>
                </c:pt>
                <c:pt idx="296">
                  <c:v>50.429000000000002</c:v>
                </c:pt>
                <c:pt idx="297">
                  <c:v>49</c:v>
                </c:pt>
                <c:pt idx="298">
                  <c:v>47.143000000000001</c:v>
                </c:pt>
                <c:pt idx="299">
                  <c:v>46.856999999999999</c:v>
                </c:pt>
                <c:pt idx="300">
                  <c:v>45.143000000000001</c:v>
                </c:pt>
                <c:pt idx="301">
                  <c:v>43.570999999999998</c:v>
                </c:pt>
                <c:pt idx="302">
                  <c:v>41.143000000000001</c:v>
                </c:pt>
                <c:pt idx="303">
                  <c:v>42.429000000000002</c:v>
                </c:pt>
                <c:pt idx="304">
                  <c:v>42.143000000000001</c:v>
                </c:pt>
                <c:pt idx="305">
                  <c:v>42</c:v>
                </c:pt>
                <c:pt idx="306">
                  <c:v>41</c:v>
                </c:pt>
                <c:pt idx="307">
                  <c:v>41.570999999999998</c:v>
                </c:pt>
                <c:pt idx="308">
                  <c:v>44.143000000000001</c:v>
                </c:pt>
                <c:pt idx="309">
                  <c:v>48.713999999999999</c:v>
                </c:pt>
                <c:pt idx="310">
                  <c:v>51.856999999999999</c:v>
                </c:pt>
                <c:pt idx="311">
                  <c:v>58.286000000000001</c:v>
                </c:pt>
                <c:pt idx="312">
                  <c:v>56.570999999999998</c:v>
                </c:pt>
                <c:pt idx="313">
                  <c:v>55</c:v>
                </c:pt>
                <c:pt idx="314">
                  <c:v>52.429000000000002</c:v>
                </c:pt>
                <c:pt idx="315">
                  <c:v>49.570999999999998</c:v>
                </c:pt>
                <c:pt idx="316">
                  <c:v>45.143000000000001</c:v>
                </c:pt>
                <c:pt idx="317">
                  <c:v>39</c:v>
                </c:pt>
                <c:pt idx="318">
                  <c:v>32.570999999999998</c:v>
                </c:pt>
                <c:pt idx="319">
                  <c:v>34.286000000000001</c:v>
                </c:pt>
                <c:pt idx="320">
                  <c:v>36</c:v>
                </c:pt>
                <c:pt idx="321">
                  <c:v>37</c:v>
                </c:pt>
                <c:pt idx="322">
                  <c:v>37</c:v>
                </c:pt>
                <c:pt idx="323">
                  <c:v>38.713999999999999</c:v>
                </c:pt>
                <c:pt idx="324">
                  <c:v>39.856999999999999</c:v>
                </c:pt>
                <c:pt idx="325">
                  <c:v>39.143000000000001</c:v>
                </c:pt>
                <c:pt idx="326">
                  <c:v>38</c:v>
                </c:pt>
                <c:pt idx="327">
                  <c:v>36.713999999999999</c:v>
                </c:pt>
                <c:pt idx="328">
                  <c:v>35.429000000000002</c:v>
                </c:pt>
                <c:pt idx="329">
                  <c:v>34</c:v>
                </c:pt>
                <c:pt idx="330">
                  <c:v>32.570999999999998</c:v>
                </c:pt>
                <c:pt idx="331">
                  <c:v>31</c:v>
                </c:pt>
                <c:pt idx="332">
                  <c:v>29.143000000000001</c:v>
                </c:pt>
                <c:pt idx="333">
                  <c:v>26.713999999999999</c:v>
                </c:pt>
                <c:pt idx="334">
                  <c:v>25.286000000000001</c:v>
                </c:pt>
                <c:pt idx="335">
                  <c:v>24.713999999999999</c:v>
                </c:pt>
                <c:pt idx="336">
                  <c:v>23.713999999999999</c:v>
                </c:pt>
                <c:pt idx="337">
                  <c:v>22.286000000000001</c:v>
                </c:pt>
                <c:pt idx="338">
                  <c:v>20.856999999999999</c:v>
                </c:pt>
                <c:pt idx="339">
                  <c:v>21.286000000000001</c:v>
                </c:pt>
                <c:pt idx="340">
                  <c:v>23.286000000000001</c:v>
                </c:pt>
                <c:pt idx="341">
                  <c:v>24.286000000000001</c:v>
                </c:pt>
                <c:pt idx="342">
                  <c:v>25.428999999999998</c:v>
                </c:pt>
                <c:pt idx="343">
                  <c:v>27.143000000000001</c:v>
                </c:pt>
                <c:pt idx="344">
                  <c:v>27.713999999999999</c:v>
                </c:pt>
                <c:pt idx="345">
                  <c:v>27.713999999999999</c:v>
                </c:pt>
                <c:pt idx="346">
                  <c:v>26.856999999999999</c:v>
                </c:pt>
                <c:pt idx="347">
                  <c:v>25.856999999999999</c:v>
                </c:pt>
                <c:pt idx="348">
                  <c:v>26</c:v>
                </c:pt>
                <c:pt idx="349">
                  <c:v>25.143000000000001</c:v>
                </c:pt>
                <c:pt idx="350">
                  <c:v>22</c:v>
                </c:pt>
                <c:pt idx="351">
                  <c:v>21.286000000000001</c:v>
                </c:pt>
                <c:pt idx="352">
                  <c:v>20.286000000000001</c:v>
                </c:pt>
                <c:pt idx="353">
                  <c:v>19.571000000000002</c:v>
                </c:pt>
                <c:pt idx="354">
                  <c:v>18.428999999999998</c:v>
                </c:pt>
                <c:pt idx="355">
                  <c:v>16.713999999999999</c:v>
                </c:pt>
                <c:pt idx="356">
                  <c:v>16.286000000000001</c:v>
                </c:pt>
                <c:pt idx="357">
                  <c:v>16.571000000000002</c:v>
                </c:pt>
                <c:pt idx="358">
                  <c:v>14.714</c:v>
                </c:pt>
                <c:pt idx="359">
                  <c:v>12.286</c:v>
                </c:pt>
                <c:pt idx="360">
                  <c:v>10.429</c:v>
                </c:pt>
                <c:pt idx="361">
                  <c:v>9.1430000000000007</c:v>
                </c:pt>
                <c:pt idx="362">
                  <c:v>7</c:v>
                </c:pt>
                <c:pt idx="363">
                  <c:v>3.286</c:v>
                </c:pt>
                <c:pt idx="364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45048623"/>
        <c:axId val="1845051535"/>
      </c:lineChart>
      <c:dateAx>
        <c:axId val="-955199408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 val="autoZero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Revenue (in USD)</a:t>
                </a:r>
                <a:endParaRPr lang="en-IN" b="1"/>
              </a:p>
            </c:rich>
          </c:tx>
          <c:layout>
            <c:manualLayout>
              <c:xMode val="edge"/>
              <c:yMode val="edge"/>
              <c:x val="1.7067833942136307E-2"/>
              <c:y val="0.214663826403764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1845051535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 i="0" kern="1200" baseline="0" dirty="0">
                    <a:solidFill>
                      <a:srgbClr val="000000"/>
                    </a:solidFill>
                    <a:effectLst/>
                  </a:rPr>
                  <a:t>Resident and Parks(in 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5048623"/>
        <c:crosses val="max"/>
        <c:crossBetween val="between"/>
      </c:valAx>
      <c:dateAx>
        <c:axId val="1845048623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45051535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677907955522532"/>
          <c:y val="0.89640992560702837"/>
          <c:w val="0.23062863832348279"/>
          <c:h val="6.44093085870944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j-ea"/>
                <a:cs typeface="+mj-cs"/>
              </a:rPr>
              <a:t>Google Trend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647250685203459E-2"/>
          <c:y val="0.1110100897260959"/>
          <c:w val="0.85009385801103066"/>
          <c:h val="0.58994024767250741"/>
        </c:manualLayout>
      </c:layout>
      <c:lineChart>
        <c:grouping val="standard"/>
        <c:varyColors val="0"/>
        <c:ser>
          <c:idx val="2"/>
          <c:order val="1"/>
          <c:tx>
            <c:strRef>
              <c:f>Sheet1!$D$1</c:f>
              <c:strCache>
                <c:ptCount val="1"/>
                <c:pt idx="0">
                  <c:v>Revenu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D$2:$D$366</c:f>
              <c:numCache>
                <c:formatCode>General</c:formatCode>
                <c:ptCount val="365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AA1-45EC-BCFA-1BB762F40F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rategy Games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#,##0</c:formatCode>
                <c:ptCount val="365"/>
                <c:pt idx="0">
                  <c:v>52</c:v>
                </c:pt>
                <c:pt idx="1">
                  <c:v>52</c:v>
                </c:pt>
                <c:pt idx="2">
                  <c:v>75</c:v>
                </c:pt>
                <c:pt idx="3">
                  <c:v>75</c:v>
                </c:pt>
                <c:pt idx="4">
                  <c:v>75</c:v>
                </c:pt>
                <c:pt idx="5">
                  <c:v>75</c:v>
                </c:pt>
                <c:pt idx="6">
                  <c:v>75</c:v>
                </c:pt>
                <c:pt idx="7">
                  <c:v>75</c:v>
                </c:pt>
                <c:pt idx="8">
                  <c:v>75</c:v>
                </c:pt>
                <c:pt idx="9">
                  <c:v>68</c:v>
                </c:pt>
                <c:pt idx="10">
                  <c:v>68</c:v>
                </c:pt>
                <c:pt idx="11">
                  <c:v>68</c:v>
                </c:pt>
                <c:pt idx="12">
                  <c:v>68</c:v>
                </c:pt>
                <c:pt idx="13">
                  <c:v>68</c:v>
                </c:pt>
                <c:pt idx="14">
                  <c:v>68</c:v>
                </c:pt>
                <c:pt idx="15">
                  <c:v>68</c:v>
                </c:pt>
                <c:pt idx="16">
                  <c:v>67</c:v>
                </c:pt>
                <c:pt idx="17">
                  <c:v>67</c:v>
                </c:pt>
                <c:pt idx="18">
                  <c:v>67</c:v>
                </c:pt>
                <c:pt idx="19">
                  <c:v>67</c:v>
                </c:pt>
                <c:pt idx="20">
                  <c:v>67</c:v>
                </c:pt>
                <c:pt idx="21">
                  <c:v>67</c:v>
                </c:pt>
                <c:pt idx="22">
                  <c:v>67</c:v>
                </c:pt>
                <c:pt idx="23">
                  <c:v>94</c:v>
                </c:pt>
                <c:pt idx="24">
                  <c:v>94</c:v>
                </c:pt>
                <c:pt idx="25">
                  <c:v>94</c:v>
                </c:pt>
                <c:pt idx="26">
                  <c:v>94</c:v>
                </c:pt>
                <c:pt idx="27">
                  <c:v>94</c:v>
                </c:pt>
                <c:pt idx="28">
                  <c:v>94</c:v>
                </c:pt>
                <c:pt idx="29">
                  <c:v>94</c:v>
                </c:pt>
                <c:pt idx="30">
                  <c:v>75</c:v>
                </c:pt>
                <c:pt idx="31">
                  <c:v>75</c:v>
                </c:pt>
                <c:pt idx="32">
                  <c:v>75</c:v>
                </c:pt>
                <c:pt idx="33">
                  <c:v>75</c:v>
                </c:pt>
                <c:pt idx="34">
                  <c:v>75</c:v>
                </c:pt>
                <c:pt idx="35">
                  <c:v>75</c:v>
                </c:pt>
                <c:pt idx="36">
                  <c:v>75</c:v>
                </c:pt>
                <c:pt idx="37">
                  <c:v>74</c:v>
                </c:pt>
                <c:pt idx="38">
                  <c:v>74</c:v>
                </c:pt>
                <c:pt idx="39">
                  <c:v>74</c:v>
                </c:pt>
                <c:pt idx="40">
                  <c:v>74</c:v>
                </c:pt>
                <c:pt idx="41">
                  <c:v>74</c:v>
                </c:pt>
                <c:pt idx="42">
                  <c:v>74</c:v>
                </c:pt>
                <c:pt idx="43">
                  <c:v>74</c:v>
                </c:pt>
                <c:pt idx="44">
                  <c:v>89</c:v>
                </c:pt>
                <c:pt idx="45">
                  <c:v>89</c:v>
                </c:pt>
                <c:pt idx="46">
                  <c:v>89</c:v>
                </c:pt>
                <c:pt idx="47">
                  <c:v>89</c:v>
                </c:pt>
                <c:pt idx="48">
                  <c:v>89</c:v>
                </c:pt>
                <c:pt idx="49">
                  <c:v>89</c:v>
                </c:pt>
                <c:pt idx="50">
                  <c:v>89</c:v>
                </c:pt>
                <c:pt idx="51">
                  <c:v>67</c:v>
                </c:pt>
                <c:pt idx="52">
                  <c:v>67</c:v>
                </c:pt>
                <c:pt idx="53">
                  <c:v>67</c:v>
                </c:pt>
                <c:pt idx="54">
                  <c:v>67</c:v>
                </c:pt>
                <c:pt idx="55">
                  <c:v>67</c:v>
                </c:pt>
                <c:pt idx="56">
                  <c:v>67</c:v>
                </c:pt>
                <c:pt idx="57">
                  <c:v>67</c:v>
                </c:pt>
                <c:pt idx="58">
                  <c:v>85</c:v>
                </c:pt>
                <c:pt idx="59">
                  <c:v>85</c:v>
                </c:pt>
                <c:pt idx="60">
                  <c:v>85</c:v>
                </c:pt>
                <c:pt idx="61">
                  <c:v>85</c:v>
                </c:pt>
                <c:pt idx="62">
                  <c:v>85</c:v>
                </c:pt>
                <c:pt idx="63">
                  <c:v>85</c:v>
                </c:pt>
                <c:pt idx="64">
                  <c:v>85</c:v>
                </c:pt>
                <c:pt idx="65">
                  <c:v>75</c:v>
                </c:pt>
                <c:pt idx="66">
                  <c:v>75</c:v>
                </c:pt>
                <c:pt idx="67">
                  <c:v>75</c:v>
                </c:pt>
                <c:pt idx="68">
                  <c:v>75</c:v>
                </c:pt>
                <c:pt idx="69">
                  <c:v>75</c:v>
                </c:pt>
                <c:pt idx="70">
                  <c:v>75</c:v>
                </c:pt>
                <c:pt idx="71">
                  <c:v>75</c:v>
                </c:pt>
                <c:pt idx="72">
                  <c:v>65</c:v>
                </c:pt>
                <c:pt idx="73">
                  <c:v>65</c:v>
                </c:pt>
                <c:pt idx="74">
                  <c:v>65</c:v>
                </c:pt>
                <c:pt idx="75">
                  <c:v>65</c:v>
                </c:pt>
                <c:pt idx="76">
                  <c:v>65</c:v>
                </c:pt>
                <c:pt idx="77">
                  <c:v>65</c:v>
                </c:pt>
                <c:pt idx="78">
                  <c:v>65</c:v>
                </c:pt>
                <c:pt idx="79">
                  <c:v>80</c:v>
                </c:pt>
                <c:pt idx="80">
                  <c:v>80</c:v>
                </c:pt>
                <c:pt idx="81">
                  <c:v>80</c:v>
                </c:pt>
                <c:pt idx="82">
                  <c:v>80</c:v>
                </c:pt>
                <c:pt idx="83">
                  <c:v>80</c:v>
                </c:pt>
                <c:pt idx="84">
                  <c:v>80</c:v>
                </c:pt>
                <c:pt idx="85">
                  <c:v>80</c:v>
                </c:pt>
                <c:pt idx="86">
                  <c:v>47</c:v>
                </c:pt>
                <c:pt idx="87">
                  <c:v>47</c:v>
                </c:pt>
                <c:pt idx="88">
                  <c:v>47</c:v>
                </c:pt>
                <c:pt idx="89">
                  <c:v>47</c:v>
                </c:pt>
                <c:pt idx="90">
                  <c:v>47</c:v>
                </c:pt>
                <c:pt idx="91">
                  <c:v>47</c:v>
                </c:pt>
                <c:pt idx="92">
                  <c:v>47</c:v>
                </c:pt>
                <c:pt idx="93">
                  <c:v>60</c:v>
                </c:pt>
                <c:pt idx="94">
                  <c:v>60</c:v>
                </c:pt>
                <c:pt idx="95">
                  <c:v>60</c:v>
                </c:pt>
                <c:pt idx="96">
                  <c:v>60</c:v>
                </c:pt>
                <c:pt idx="97">
                  <c:v>60</c:v>
                </c:pt>
                <c:pt idx="98">
                  <c:v>60</c:v>
                </c:pt>
                <c:pt idx="99">
                  <c:v>60</c:v>
                </c:pt>
                <c:pt idx="100">
                  <c:v>47</c:v>
                </c:pt>
                <c:pt idx="101">
                  <c:v>47</c:v>
                </c:pt>
                <c:pt idx="102">
                  <c:v>47</c:v>
                </c:pt>
                <c:pt idx="103">
                  <c:v>47</c:v>
                </c:pt>
                <c:pt idx="104">
                  <c:v>47</c:v>
                </c:pt>
                <c:pt idx="105">
                  <c:v>47</c:v>
                </c:pt>
                <c:pt idx="106">
                  <c:v>47</c:v>
                </c:pt>
                <c:pt idx="107">
                  <c:v>64</c:v>
                </c:pt>
                <c:pt idx="108">
                  <c:v>64</c:v>
                </c:pt>
                <c:pt idx="109">
                  <c:v>64</c:v>
                </c:pt>
                <c:pt idx="110">
                  <c:v>64</c:v>
                </c:pt>
                <c:pt idx="111">
                  <c:v>64</c:v>
                </c:pt>
                <c:pt idx="112">
                  <c:v>64</c:v>
                </c:pt>
                <c:pt idx="113">
                  <c:v>64</c:v>
                </c:pt>
                <c:pt idx="114">
                  <c:v>68</c:v>
                </c:pt>
                <c:pt idx="115">
                  <c:v>68</c:v>
                </c:pt>
                <c:pt idx="116">
                  <c:v>68</c:v>
                </c:pt>
                <c:pt idx="117">
                  <c:v>68</c:v>
                </c:pt>
                <c:pt idx="118">
                  <c:v>68</c:v>
                </c:pt>
                <c:pt idx="119">
                  <c:v>68</c:v>
                </c:pt>
                <c:pt idx="120">
                  <c:v>68</c:v>
                </c:pt>
                <c:pt idx="121">
                  <c:v>45</c:v>
                </c:pt>
                <c:pt idx="122">
                  <c:v>45</c:v>
                </c:pt>
                <c:pt idx="123">
                  <c:v>45</c:v>
                </c:pt>
                <c:pt idx="124">
                  <c:v>45</c:v>
                </c:pt>
                <c:pt idx="125">
                  <c:v>45</c:v>
                </c:pt>
                <c:pt idx="126">
                  <c:v>45</c:v>
                </c:pt>
                <c:pt idx="127">
                  <c:v>45</c:v>
                </c:pt>
                <c:pt idx="128">
                  <c:v>47</c:v>
                </c:pt>
                <c:pt idx="129">
                  <c:v>47</c:v>
                </c:pt>
                <c:pt idx="130">
                  <c:v>47</c:v>
                </c:pt>
                <c:pt idx="131">
                  <c:v>47</c:v>
                </c:pt>
                <c:pt idx="132">
                  <c:v>47</c:v>
                </c:pt>
                <c:pt idx="133">
                  <c:v>47</c:v>
                </c:pt>
                <c:pt idx="134">
                  <c:v>47</c:v>
                </c:pt>
                <c:pt idx="135">
                  <c:v>93</c:v>
                </c:pt>
                <c:pt idx="136">
                  <c:v>93</c:v>
                </c:pt>
                <c:pt idx="137">
                  <c:v>93</c:v>
                </c:pt>
                <c:pt idx="138">
                  <c:v>93</c:v>
                </c:pt>
                <c:pt idx="139">
                  <c:v>93</c:v>
                </c:pt>
                <c:pt idx="140">
                  <c:v>93</c:v>
                </c:pt>
                <c:pt idx="141">
                  <c:v>93</c:v>
                </c:pt>
                <c:pt idx="142">
                  <c:v>84</c:v>
                </c:pt>
                <c:pt idx="143">
                  <c:v>84</c:v>
                </c:pt>
                <c:pt idx="144">
                  <c:v>84</c:v>
                </c:pt>
                <c:pt idx="145">
                  <c:v>84</c:v>
                </c:pt>
                <c:pt idx="146">
                  <c:v>84</c:v>
                </c:pt>
                <c:pt idx="147">
                  <c:v>84</c:v>
                </c:pt>
                <c:pt idx="148">
                  <c:v>84</c:v>
                </c:pt>
                <c:pt idx="149">
                  <c:v>92</c:v>
                </c:pt>
                <c:pt idx="150">
                  <c:v>92</c:v>
                </c:pt>
                <c:pt idx="151">
                  <c:v>92</c:v>
                </c:pt>
                <c:pt idx="152">
                  <c:v>92</c:v>
                </c:pt>
                <c:pt idx="153">
                  <c:v>92</c:v>
                </c:pt>
                <c:pt idx="154">
                  <c:v>92</c:v>
                </c:pt>
                <c:pt idx="155">
                  <c:v>92</c:v>
                </c:pt>
                <c:pt idx="156">
                  <c:v>96</c:v>
                </c:pt>
                <c:pt idx="157">
                  <c:v>96</c:v>
                </c:pt>
                <c:pt idx="158">
                  <c:v>96</c:v>
                </c:pt>
                <c:pt idx="159">
                  <c:v>96</c:v>
                </c:pt>
                <c:pt idx="160">
                  <c:v>96</c:v>
                </c:pt>
                <c:pt idx="161">
                  <c:v>96</c:v>
                </c:pt>
                <c:pt idx="162">
                  <c:v>96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76</c:v>
                </c:pt>
                <c:pt idx="171">
                  <c:v>76</c:v>
                </c:pt>
                <c:pt idx="172">
                  <c:v>76</c:v>
                </c:pt>
                <c:pt idx="173">
                  <c:v>76</c:v>
                </c:pt>
                <c:pt idx="174">
                  <c:v>76</c:v>
                </c:pt>
                <c:pt idx="175">
                  <c:v>76</c:v>
                </c:pt>
                <c:pt idx="176">
                  <c:v>76</c:v>
                </c:pt>
                <c:pt idx="177">
                  <c:v>73</c:v>
                </c:pt>
                <c:pt idx="178">
                  <c:v>73</c:v>
                </c:pt>
                <c:pt idx="179">
                  <c:v>73</c:v>
                </c:pt>
                <c:pt idx="180">
                  <c:v>73</c:v>
                </c:pt>
                <c:pt idx="181">
                  <c:v>73</c:v>
                </c:pt>
                <c:pt idx="182">
                  <c:v>73</c:v>
                </c:pt>
                <c:pt idx="183">
                  <c:v>73</c:v>
                </c:pt>
                <c:pt idx="184">
                  <c:v>91</c:v>
                </c:pt>
                <c:pt idx="185">
                  <c:v>91</c:v>
                </c:pt>
                <c:pt idx="186">
                  <c:v>91</c:v>
                </c:pt>
                <c:pt idx="187">
                  <c:v>91</c:v>
                </c:pt>
                <c:pt idx="188">
                  <c:v>91</c:v>
                </c:pt>
                <c:pt idx="189">
                  <c:v>91</c:v>
                </c:pt>
                <c:pt idx="190">
                  <c:v>91</c:v>
                </c:pt>
                <c:pt idx="191">
                  <c:v>80</c:v>
                </c:pt>
                <c:pt idx="192">
                  <c:v>80</c:v>
                </c:pt>
                <c:pt idx="193">
                  <c:v>80</c:v>
                </c:pt>
                <c:pt idx="194">
                  <c:v>80</c:v>
                </c:pt>
                <c:pt idx="195">
                  <c:v>80</c:v>
                </c:pt>
                <c:pt idx="196">
                  <c:v>80</c:v>
                </c:pt>
                <c:pt idx="197">
                  <c:v>80</c:v>
                </c:pt>
                <c:pt idx="198">
                  <c:v>74</c:v>
                </c:pt>
                <c:pt idx="199">
                  <c:v>74</c:v>
                </c:pt>
                <c:pt idx="200">
                  <c:v>74</c:v>
                </c:pt>
                <c:pt idx="201">
                  <c:v>74</c:v>
                </c:pt>
                <c:pt idx="202">
                  <c:v>74</c:v>
                </c:pt>
                <c:pt idx="203">
                  <c:v>74</c:v>
                </c:pt>
                <c:pt idx="204">
                  <c:v>74</c:v>
                </c:pt>
                <c:pt idx="205">
                  <c:v>47</c:v>
                </c:pt>
                <c:pt idx="206">
                  <c:v>47</c:v>
                </c:pt>
                <c:pt idx="207">
                  <c:v>47</c:v>
                </c:pt>
                <c:pt idx="208">
                  <c:v>47</c:v>
                </c:pt>
                <c:pt idx="209">
                  <c:v>47</c:v>
                </c:pt>
                <c:pt idx="210">
                  <c:v>47</c:v>
                </c:pt>
                <c:pt idx="211">
                  <c:v>47</c:v>
                </c:pt>
                <c:pt idx="212">
                  <c:v>70</c:v>
                </c:pt>
                <c:pt idx="213">
                  <c:v>70</c:v>
                </c:pt>
                <c:pt idx="214">
                  <c:v>70</c:v>
                </c:pt>
                <c:pt idx="215">
                  <c:v>70</c:v>
                </c:pt>
                <c:pt idx="216">
                  <c:v>70</c:v>
                </c:pt>
                <c:pt idx="217">
                  <c:v>70</c:v>
                </c:pt>
                <c:pt idx="218">
                  <c:v>70</c:v>
                </c:pt>
                <c:pt idx="219">
                  <c:v>44</c:v>
                </c:pt>
                <c:pt idx="220">
                  <c:v>44</c:v>
                </c:pt>
                <c:pt idx="221">
                  <c:v>44</c:v>
                </c:pt>
                <c:pt idx="222">
                  <c:v>44</c:v>
                </c:pt>
                <c:pt idx="223">
                  <c:v>44</c:v>
                </c:pt>
                <c:pt idx="224">
                  <c:v>44</c:v>
                </c:pt>
                <c:pt idx="225">
                  <c:v>44</c:v>
                </c:pt>
                <c:pt idx="226">
                  <c:v>45</c:v>
                </c:pt>
                <c:pt idx="227">
                  <c:v>45</c:v>
                </c:pt>
                <c:pt idx="228">
                  <c:v>45</c:v>
                </c:pt>
                <c:pt idx="229">
                  <c:v>45</c:v>
                </c:pt>
                <c:pt idx="230">
                  <c:v>45</c:v>
                </c:pt>
                <c:pt idx="231">
                  <c:v>45</c:v>
                </c:pt>
                <c:pt idx="232">
                  <c:v>45</c:v>
                </c:pt>
                <c:pt idx="233">
                  <c:v>54</c:v>
                </c:pt>
                <c:pt idx="234">
                  <c:v>54</c:v>
                </c:pt>
                <c:pt idx="235">
                  <c:v>54</c:v>
                </c:pt>
                <c:pt idx="236">
                  <c:v>54</c:v>
                </c:pt>
                <c:pt idx="237">
                  <c:v>54</c:v>
                </c:pt>
                <c:pt idx="238">
                  <c:v>54</c:v>
                </c:pt>
                <c:pt idx="239">
                  <c:v>54</c:v>
                </c:pt>
                <c:pt idx="240">
                  <c:v>63</c:v>
                </c:pt>
                <c:pt idx="241">
                  <c:v>63</c:v>
                </c:pt>
                <c:pt idx="242">
                  <c:v>63</c:v>
                </c:pt>
                <c:pt idx="243">
                  <c:v>63</c:v>
                </c:pt>
                <c:pt idx="244">
                  <c:v>63</c:v>
                </c:pt>
                <c:pt idx="245">
                  <c:v>63</c:v>
                </c:pt>
                <c:pt idx="246">
                  <c:v>63</c:v>
                </c:pt>
                <c:pt idx="247">
                  <c:v>59</c:v>
                </c:pt>
                <c:pt idx="248">
                  <c:v>59</c:v>
                </c:pt>
                <c:pt idx="249">
                  <c:v>59</c:v>
                </c:pt>
                <c:pt idx="250">
                  <c:v>59</c:v>
                </c:pt>
                <c:pt idx="251">
                  <c:v>59</c:v>
                </c:pt>
                <c:pt idx="252">
                  <c:v>59</c:v>
                </c:pt>
                <c:pt idx="253">
                  <c:v>59</c:v>
                </c:pt>
                <c:pt idx="254">
                  <c:v>42</c:v>
                </c:pt>
                <c:pt idx="255">
                  <c:v>42</c:v>
                </c:pt>
                <c:pt idx="256">
                  <c:v>42</c:v>
                </c:pt>
                <c:pt idx="257">
                  <c:v>42</c:v>
                </c:pt>
                <c:pt idx="258">
                  <c:v>42</c:v>
                </c:pt>
                <c:pt idx="259">
                  <c:v>42</c:v>
                </c:pt>
                <c:pt idx="260">
                  <c:v>42</c:v>
                </c:pt>
                <c:pt idx="261">
                  <c:v>49</c:v>
                </c:pt>
                <c:pt idx="262">
                  <c:v>49</c:v>
                </c:pt>
                <c:pt idx="263">
                  <c:v>49</c:v>
                </c:pt>
                <c:pt idx="264">
                  <c:v>49</c:v>
                </c:pt>
                <c:pt idx="265">
                  <c:v>49</c:v>
                </c:pt>
                <c:pt idx="266">
                  <c:v>49</c:v>
                </c:pt>
                <c:pt idx="267">
                  <c:v>49</c:v>
                </c:pt>
                <c:pt idx="268">
                  <c:v>57</c:v>
                </c:pt>
                <c:pt idx="269">
                  <c:v>57</c:v>
                </c:pt>
                <c:pt idx="270">
                  <c:v>57</c:v>
                </c:pt>
                <c:pt idx="271">
                  <c:v>57</c:v>
                </c:pt>
                <c:pt idx="272">
                  <c:v>57</c:v>
                </c:pt>
                <c:pt idx="273">
                  <c:v>57</c:v>
                </c:pt>
                <c:pt idx="274">
                  <c:v>57</c:v>
                </c:pt>
                <c:pt idx="275">
                  <c:v>48</c:v>
                </c:pt>
                <c:pt idx="276">
                  <c:v>48</c:v>
                </c:pt>
                <c:pt idx="277">
                  <c:v>48</c:v>
                </c:pt>
                <c:pt idx="278">
                  <c:v>48</c:v>
                </c:pt>
                <c:pt idx="279">
                  <c:v>48</c:v>
                </c:pt>
                <c:pt idx="280">
                  <c:v>48</c:v>
                </c:pt>
                <c:pt idx="281">
                  <c:v>48</c:v>
                </c:pt>
                <c:pt idx="282">
                  <c:v>42</c:v>
                </c:pt>
                <c:pt idx="283">
                  <c:v>42</c:v>
                </c:pt>
                <c:pt idx="284">
                  <c:v>42</c:v>
                </c:pt>
                <c:pt idx="285">
                  <c:v>42</c:v>
                </c:pt>
                <c:pt idx="286">
                  <c:v>42</c:v>
                </c:pt>
                <c:pt idx="287">
                  <c:v>42</c:v>
                </c:pt>
                <c:pt idx="288">
                  <c:v>42</c:v>
                </c:pt>
                <c:pt idx="289">
                  <c:v>60</c:v>
                </c:pt>
                <c:pt idx="290">
                  <c:v>60</c:v>
                </c:pt>
                <c:pt idx="291">
                  <c:v>60</c:v>
                </c:pt>
                <c:pt idx="292">
                  <c:v>60</c:v>
                </c:pt>
                <c:pt idx="293">
                  <c:v>60</c:v>
                </c:pt>
                <c:pt idx="294">
                  <c:v>60</c:v>
                </c:pt>
                <c:pt idx="295">
                  <c:v>60</c:v>
                </c:pt>
                <c:pt idx="296">
                  <c:v>44</c:v>
                </c:pt>
                <c:pt idx="297">
                  <c:v>44</c:v>
                </c:pt>
                <c:pt idx="298">
                  <c:v>44</c:v>
                </c:pt>
                <c:pt idx="299">
                  <c:v>44</c:v>
                </c:pt>
                <c:pt idx="300">
                  <c:v>44</c:v>
                </c:pt>
                <c:pt idx="301">
                  <c:v>44</c:v>
                </c:pt>
                <c:pt idx="302">
                  <c:v>44</c:v>
                </c:pt>
                <c:pt idx="303">
                  <c:v>60</c:v>
                </c:pt>
                <c:pt idx="304">
                  <c:v>60</c:v>
                </c:pt>
                <c:pt idx="305">
                  <c:v>60</c:v>
                </c:pt>
                <c:pt idx="306">
                  <c:v>60</c:v>
                </c:pt>
                <c:pt idx="307">
                  <c:v>60</c:v>
                </c:pt>
                <c:pt idx="308">
                  <c:v>60</c:v>
                </c:pt>
                <c:pt idx="309">
                  <c:v>60</c:v>
                </c:pt>
                <c:pt idx="310">
                  <c:v>69</c:v>
                </c:pt>
                <c:pt idx="311">
                  <c:v>69</c:v>
                </c:pt>
                <c:pt idx="312">
                  <c:v>69</c:v>
                </c:pt>
                <c:pt idx="313">
                  <c:v>69</c:v>
                </c:pt>
                <c:pt idx="314">
                  <c:v>69</c:v>
                </c:pt>
                <c:pt idx="315">
                  <c:v>69</c:v>
                </c:pt>
                <c:pt idx="316">
                  <c:v>69</c:v>
                </c:pt>
                <c:pt idx="317">
                  <c:v>57</c:v>
                </c:pt>
                <c:pt idx="318">
                  <c:v>57</c:v>
                </c:pt>
                <c:pt idx="319">
                  <c:v>57</c:v>
                </c:pt>
                <c:pt idx="320">
                  <c:v>57</c:v>
                </c:pt>
                <c:pt idx="321">
                  <c:v>57</c:v>
                </c:pt>
                <c:pt idx="322">
                  <c:v>57</c:v>
                </c:pt>
                <c:pt idx="323">
                  <c:v>57</c:v>
                </c:pt>
                <c:pt idx="324">
                  <c:v>48</c:v>
                </c:pt>
                <c:pt idx="325">
                  <c:v>48</c:v>
                </c:pt>
                <c:pt idx="326">
                  <c:v>48</c:v>
                </c:pt>
                <c:pt idx="327">
                  <c:v>48</c:v>
                </c:pt>
                <c:pt idx="328">
                  <c:v>48</c:v>
                </c:pt>
                <c:pt idx="329">
                  <c:v>48</c:v>
                </c:pt>
                <c:pt idx="330">
                  <c:v>48</c:v>
                </c:pt>
                <c:pt idx="331">
                  <c:v>43</c:v>
                </c:pt>
                <c:pt idx="332">
                  <c:v>43</c:v>
                </c:pt>
                <c:pt idx="333">
                  <c:v>43</c:v>
                </c:pt>
                <c:pt idx="334">
                  <c:v>43</c:v>
                </c:pt>
                <c:pt idx="335">
                  <c:v>43</c:v>
                </c:pt>
                <c:pt idx="336">
                  <c:v>43</c:v>
                </c:pt>
                <c:pt idx="337">
                  <c:v>43</c:v>
                </c:pt>
                <c:pt idx="338">
                  <c:v>50</c:v>
                </c:pt>
                <c:pt idx="339">
                  <c:v>50</c:v>
                </c:pt>
                <c:pt idx="340">
                  <c:v>50</c:v>
                </c:pt>
                <c:pt idx="341">
                  <c:v>50</c:v>
                </c:pt>
                <c:pt idx="342">
                  <c:v>50</c:v>
                </c:pt>
                <c:pt idx="343">
                  <c:v>50</c:v>
                </c:pt>
                <c:pt idx="344">
                  <c:v>50</c:v>
                </c:pt>
                <c:pt idx="345">
                  <c:v>51</c:v>
                </c:pt>
                <c:pt idx="346">
                  <c:v>51</c:v>
                </c:pt>
                <c:pt idx="347">
                  <c:v>51</c:v>
                </c:pt>
                <c:pt idx="348">
                  <c:v>51</c:v>
                </c:pt>
                <c:pt idx="349">
                  <c:v>51</c:v>
                </c:pt>
                <c:pt idx="350">
                  <c:v>51</c:v>
                </c:pt>
                <c:pt idx="351">
                  <c:v>51</c:v>
                </c:pt>
                <c:pt idx="352">
                  <c:v>66</c:v>
                </c:pt>
                <c:pt idx="353">
                  <c:v>66</c:v>
                </c:pt>
                <c:pt idx="354">
                  <c:v>66</c:v>
                </c:pt>
                <c:pt idx="355">
                  <c:v>66</c:v>
                </c:pt>
                <c:pt idx="356">
                  <c:v>66</c:v>
                </c:pt>
                <c:pt idx="357">
                  <c:v>66</c:v>
                </c:pt>
                <c:pt idx="358">
                  <c:v>66</c:v>
                </c:pt>
                <c:pt idx="359">
                  <c:v>46</c:v>
                </c:pt>
                <c:pt idx="360">
                  <c:v>46</c:v>
                </c:pt>
                <c:pt idx="361">
                  <c:v>46</c:v>
                </c:pt>
                <c:pt idx="362">
                  <c:v>46</c:v>
                </c:pt>
                <c:pt idx="363">
                  <c:v>46</c:v>
                </c:pt>
                <c:pt idx="364">
                  <c:v>46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45048623"/>
        <c:axId val="1845051535"/>
      </c:lineChart>
      <c:dateAx>
        <c:axId val="-955199408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 val="autoZero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Revenue (in USD)</a:t>
                </a:r>
                <a:endParaRPr lang="en-IN" b="1"/>
              </a:p>
            </c:rich>
          </c:tx>
          <c:layout>
            <c:manualLayout>
              <c:xMode val="edge"/>
              <c:yMode val="edge"/>
              <c:x val="1.7067833942136307E-2"/>
              <c:y val="0.214663826403764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1845051535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 i="0" kern="1200" baseline="0" dirty="0">
                    <a:solidFill>
                      <a:srgbClr val="000000"/>
                    </a:solidFill>
                    <a:effectLst/>
                  </a:rPr>
                  <a:t>Google Trend Poin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5048623"/>
        <c:crosses val="max"/>
        <c:crossBetween val="between"/>
      </c:valAx>
      <c:dateAx>
        <c:axId val="1845048623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45051535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j-ea"/>
                <a:cs typeface="+mj-cs"/>
              </a:rPr>
              <a:t>Unemploymen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647250685203459E-2"/>
          <c:y val="0.1110100897260959"/>
          <c:w val="0.85009385801103066"/>
          <c:h val="0.58994024767250741"/>
        </c:manualLayout>
      </c:layou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Revenu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General</c:formatCode>
                <c:ptCount val="365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nemployment Rate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#,##0</c:formatCode>
                <c:ptCount val="365"/>
                <c:pt idx="0">
                  <c:v>3.5999999999999997E-2</c:v>
                </c:pt>
                <c:pt idx="1">
                  <c:v>3.5999999999999997E-2</c:v>
                </c:pt>
                <c:pt idx="2">
                  <c:v>3.5999999999999997E-2</c:v>
                </c:pt>
                <c:pt idx="3">
                  <c:v>3.5999999999999997E-2</c:v>
                </c:pt>
                <c:pt idx="4">
                  <c:v>3.5999999999999997E-2</c:v>
                </c:pt>
                <c:pt idx="5">
                  <c:v>3.5999999999999997E-2</c:v>
                </c:pt>
                <c:pt idx="6">
                  <c:v>3.5999999999999997E-2</c:v>
                </c:pt>
                <c:pt idx="7">
                  <c:v>3.5999999999999997E-2</c:v>
                </c:pt>
                <c:pt idx="8">
                  <c:v>3.5999999999999997E-2</c:v>
                </c:pt>
                <c:pt idx="9">
                  <c:v>3.5999999999999997E-2</c:v>
                </c:pt>
                <c:pt idx="10">
                  <c:v>3.5999999999999997E-2</c:v>
                </c:pt>
                <c:pt idx="11">
                  <c:v>3.5999999999999997E-2</c:v>
                </c:pt>
                <c:pt idx="12">
                  <c:v>3.5999999999999997E-2</c:v>
                </c:pt>
                <c:pt idx="13">
                  <c:v>3.5999999999999997E-2</c:v>
                </c:pt>
                <c:pt idx="14">
                  <c:v>3.5999999999999997E-2</c:v>
                </c:pt>
                <c:pt idx="15">
                  <c:v>3.5999999999999997E-2</c:v>
                </c:pt>
                <c:pt idx="16">
                  <c:v>3.5999999999999997E-2</c:v>
                </c:pt>
                <c:pt idx="17">
                  <c:v>3.5999999999999997E-2</c:v>
                </c:pt>
                <c:pt idx="18">
                  <c:v>3.5999999999999997E-2</c:v>
                </c:pt>
                <c:pt idx="19">
                  <c:v>3.5999999999999997E-2</c:v>
                </c:pt>
                <c:pt idx="20">
                  <c:v>3.5999999999999997E-2</c:v>
                </c:pt>
                <c:pt idx="21">
                  <c:v>3.5999999999999997E-2</c:v>
                </c:pt>
                <c:pt idx="22">
                  <c:v>3.5999999999999997E-2</c:v>
                </c:pt>
                <c:pt idx="23">
                  <c:v>3.5999999999999997E-2</c:v>
                </c:pt>
                <c:pt idx="24">
                  <c:v>3.5999999999999997E-2</c:v>
                </c:pt>
                <c:pt idx="25">
                  <c:v>3.5999999999999997E-2</c:v>
                </c:pt>
                <c:pt idx="26">
                  <c:v>3.5999999999999997E-2</c:v>
                </c:pt>
                <c:pt idx="27">
                  <c:v>3.5999999999999997E-2</c:v>
                </c:pt>
                <c:pt idx="28">
                  <c:v>3.5999999999999997E-2</c:v>
                </c:pt>
                <c:pt idx="29">
                  <c:v>3.5999999999999997E-2</c:v>
                </c:pt>
                <c:pt idx="30">
                  <c:v>3.5999999999999997E-2</c:v>
                </c:pt>
                <c:pt idx="31">
                  <c:v>3.5999999999999997E-2</c:v>
                </c:pt>
                <c:pt idx="32">
                  <c:v>3.5999999999999997E-2</c:v>
                </c:pt>
                <c:pt idx="33">
                  <c:v>3.5999999999999997E-2</c:v>
                </c:pt>
                <c:pt idx="34">
                  <c:v>3.5999999999999997E-2</c:v>
                </c:pt>
                <c:pt idx="35">
                  <c:v>3.5999999999999997E-2</c:v>
                </c:pt>
                <c:pt idx="36">
                  <c:v>3.5999999999999997E-2</c:v>
                </c:pt>
                <c:pt idx="37">
                  <c:v>3.5999999999999997E-2</c:v>
                </c:pt>
                <c:pt idx="38">
                  <c:v>3.5999999999999997E-2</c:v>
                </c:pt>
                <c:pt idx="39">
                  <c:v>3.5999999999999997E-2</c:v>
                </c:pt>
                <c:pt idx="40">
                  <c:v>3.5999999999999997E-2</c:v>
                </c:pt>
                <c:pt idx="41">
                  <c:v>3.5999999999999997E-2</c:v>
                </c:pt>
                <c:pt idx="42">
                  <c:v>3.5999999999999997E-2</c:v>
                </c:pt>
                <c:pt idx="43">
                  <c:v>3.5999999999999997E-2</c:v>
                </c:pt>
                <c:pt idx="44">
                  <c:v>3.5999999999999997E-2</c:v>
                </c:pt>
                <c:pt idx="45">
                  <c:v>3.5999999999999997E-2</c:v>
                </c:pt>
                <c:pt idx="46">
                  <c:v>3.5999999999999997E-2</c:v>
                </c:pt>
                <c:pt idx="47">
                  <c:v>3.5999999999999997E-2</c:v>
                </c:pt>
                <c:pt idx="48">
                  <c:v>3.5999999999999997E-2</c:v>
                </c:pt>
                <c:pt idx="49">
                  <c:v>3.5999999999999997E-2</c:v>
                </c:pt>
                <c:pt idx="50">
                  <c:v>3.5999999999999997E-2</c:v>
                </c:pt>
                <c:pt idx="51">
                  <c:v>3.5999999999999997E-2</c:v>
                </c:pt>
                <c:pt idx="52">
                  <c:v>3.5999999999999997E-2</c:v>
                </c:pt>
                <c:pt idx="53">
                  <c:v>3.5999999999999997E-2</c:v>
                </c:pt>
                <c:pt idx="54">
                  <c:v>3.5999999999999997E-2</c:v>
                </c:pt>
                <c:pt idx="55">
                  <c:v>3.5999999999999997E-2</c:v>
                </c:pt>
                <c:pt idx="56">
                  <c:v>3.5999999999999997E-2</c:v>
                </c:pt>
                <c:pt idx="57">
                  <c:v>3.5999999999999997E-2</c:v>
                </c:pt>
                <c:pt idx="58">
                  <c:v>3.5999999999999997E-2</c:v>
                </c:pt>
                <c:pt idx="59">
                  <c:v>3.5999999999999997E-2</c:v>
                </c:pt>
                <c:pt idx="60">
                  <c:v>3.5999999999999997E-2</c:v>
                </c:pt>
                <c:pt idx="61">
                  <c:v>3.5999999999999997E-2</c:v>
                </c:pt>
                <c:pt idx="62">
                  <c:v>3.5999999999999997E-2</c:v>
                </c:pt>
                <c:pt idx="63">
                  <c:v>3.5999999999999997E-2</c:v>
                </c:pt>
                <c:pt idx="64">
                  <c:v>3.5999999999999997E-2</c:v>
                </c:pt>
                <c:pt idx="65">
                  <c:v>3.5999999999999997E-2</c:v>
                </c:pt>
                <c:pt idx="66">
                  <c:v>3.5999999999999997E-2</c:v>
                </c:pt>
                <c:pt idx="67">
                  <c:v>3.5999999999999997E-2</c:v>
                </c:pt>
                <c:pt idx="68">
                  <c:v>3.5999999999999997E-2</c:v>
                </c:pt>
                <c:pt idx="69">
                  <c:v>3.5999999999999997E-2</c:v>
                </c:pt>
                <c:pt idx="70">
                  <c:v>3.5999999999999997E-2</c:v>
                </c:pt>
                <c:pt idx="71">
                  <c:v>3.5999999999999997E-2</c:v>
                </c:pt>
                <c:pt idx="72">
                  <c:v>3.5999999999999997E-2</c:v>
                </c:pt>
                <c:pt idx="73">
                  <c:v>3.5999999999999997E-2</c:v>
                </c:pt>
                <c:pt idx="74">
                  <c:v>3.5999999999999997E-2</c:v>
                </c:pt>
                <c:pt idx="75">
                  <c:v>3.5999999999999997E-2</c:v>
                </c:pt>
                <c:pt idx="76">
                  <c:v>3.5999999999999997E-2</c:v>
                </c:pt>
                <c:pt idx="77">
                  <c:v>3.5999999999999997E-2</c:v>
                </c:pt>
                <c:pt idx="78">
                  <c:v>3.5999999999999997E-2</c:v>
                </c:pt>
                <c:pt idx="79">
                  <c:v>3.5999999999999997E-2</c:v>
                </c:pt>
                <c:pt idx="80">
                  <c:v>3.5999999999999997E-2</c:v>
                </c:pt>
                <c:pt idx="81">
                  <c:v>3.5999999999999997E-2</c:v>
                </c:pt>
                <c:pt idx="82">
                  <c:v>3.5999999999999997E-2</c:v>
                </c:pt>
                <c:pt idx="83">
                  <c:v>3.5999999999999997E-2</c:v>
                </c:pt>
                <c:pt idx="84">
                  <c:v>3.5999999999999997E-2</c:v>
                </c:pt>
                <c:pt idx="85">
                  <c:v>3.5999999999999997E-2</c:v>
                </c:pt>
                <c:pt idx="86">
                  <c:v>3.5999999999999997E-2</c:v>
                </c:pt>
                <c:pt idx="87">
                  <c:v>3.5999999999999997E-2</c:v>
                </c:pt>
                <c:pt idx="88">
                  <c:v>3.5999999999999997E-2</c:v>
                </c:pt>
                <c:pt idx="89">
                  <c:v>3.5999999999999997E-2</c:v>
                </c:pt>
                <c:pt idx="90">
                  <c:v>3.5999999999999997E-2</c:v>
                </c:pt>
                <c:pt idx="91">
                  <c:v>3.5999999999999997E-2</c:v>
                </c:pt>
                <c:pt idx="92">
                  <c:v>3.5000000000000003E-2</c:v>
                </c:pt>
                <c:pt idx="93">
                  <c:v>3.5000000000000003E-2</c:v>
                </c:pt>
                <c:pt idx="94">
                  <c:v>3.5000000000000003E-2</c:v>
                </c:pt>
                <c:pt idx="95">
                  <c:v>3.5000000000000003E-2</c:v>
                </c:pt>
                <c:pt idx="96">
                  <c:v>3.5000000000000003E-2</c:v>
                </c:pt>
                <c:pt idx="97">
                  <c:v>3.5000000000000003E-2</c:v>
                </c:pt>
                <c:pt idx="98">
                  <c:v>3.5000000000000003E-2</c:v>
                </c:pt>
                <c:pt idx="99">
                  <c:v>3.5000000000000003E-2</c:v>
                </c:pt>
                <c:pt idx="100">
                  <c:v>3.5000000000000003E-2</c:v>
                </c:pt>
                <c:pt idx="101">
                  <c:v>3.5000000000000003E-2</c:v>
                </c:pt>
                <c:pt idx="102">
                  <c:v>3.5000000000000003E-2</c:v>
                </c:pt>
                <c:pt idx="103">
                  <c:v>3.5000000000000003E-2</c:v>
                </c:pt>
                <c:pt idx="104">
                  <c:v>3.5000000000000003E-2</c:v>
                </c:pt>
                <c:pt idx="105">
                  <c:v>3.5000000000000003E-2</c:v>
                </c:pt>
                <c:pt idx="106">
                  <c:v>3.5000000000000003E-2</c:v>
                </c:pt>
                <c:pt idx="107">
                  <c:v>3.5000000000000003E-2</c:v>
                </c:pt>
                <c:pt idx="108">
                  <c:v>3.5000000000000003E-2</c:v>
                </c:pt>
                <c:pt idx="109">
                  <c:v>3.5000000000000003E-2</c:v>
                </c:pt>
                <c:pt idx="110">
                  <c:v>3.5000000000000003E-2</c:v>
                </c:pt>
                <c:pt idx="111">
                  <c:v>3.5000000000000003E-2</c:v>
                </c:pt>
                <c:pt idx="112">
                  <c:v>3.5000000000000003E-2</c:v>
                </c:pt>
                <c:pt idx="113">
                  <c:v>3.5000000000000003E-2</c:v>
                </c:pt>
                <c:pt idx="114">
                  <c:v>3.5000000000000003E-2</c:v>
                </c:pt>
                <c:pt idx="115">
                  <c:v>3.5000000000000003E-2</c:v>
                </c:pt>
                <c:pt idx="116">
                  <c:v>3.5000000000000003E-2</c:v>
                </c:pt>
                <c:pt idx="117">
                  <c:v>3.5000000000000003E-2</c:v>
                </c:pt>
                <c:pt idx="118">
                  <c:v>3.5000000000000003E-2</c:v>
                </c:pt>
                <c:pt idx="119">
                  <c:v>3.5000000000000003E-2</c:v>
                </c:pt>
                <c:pt idx="120">
                  <c:v>3.5000000000000003E-2</c:v>
                </c:pt>
                <c:pt idx="121">
                  <c:v>4.3999999999999997E-2</c:v>
                </c:pt>
                <c:pt idx="122">
                  <c:v>4.3999999999999997E-2</c:v>
                </c:pt>
                <c:pt idx="123">
                  <c:v>4.3999999999999997E-2</c:v>
                </c:pt>
                <c:pt idx="124">
                  <c:v>4.3999999999999997E-2</c:v>
                </c:pt>
                <c:pt idx="125">
                  <c:v>4.3999999999999997E-2</c:v>
                </c:pt>
                <c:pt idx="126">
                  <c:v>4.3999999999999997E-2</c:v>
                </c:pt>
                <c:pt idx="127">
                  <c:v>4.3999999999999997E-2</c:v>
                </c:pt>
                <c:pt idx="128">
                  <c:v>4.3999999999999997E-2</c:v>
                </c:pt>
                <c:pt idx="129">
                  <c:v>4.3999999999999997E-2</c:v>
                </c:pt>
                <c:pt idx="130">
                  <c:v>4.3999999999999997E-2</c:v>
                </c:pt>
                <c:pt idx="131">
                  <c:v>4.3999999999999997E-2</c:v>
                </c:pt>
                <c:pt idx="132">
                  <c:v>4.3999999999999997E-2</c:v>
                </c:pt>
                <c:pt idx="133">
                  <c:v>4.3999999999999997E-2</c:v>
                </c:pt>
                <c:pt idx="134">
                  <c:v>4.3999999999999997E-2</c:v>
                </c:pt>
                <c:pt idx="135">
                  <c:v>4.3999999999999997E-2</c:v>
                </c:pt>
                <c:pt idx="136">
                  <c:v>4.3999999999999997E-2</c:v>
                </c:pt>
                <c:pt idx="137">
                  <c:v>4.3999999999999997E-2</c:v>
                </c:pt>
                <c:pt idx="138">
                  <c:v>4.3999999999999997E-2</c:v>
                </c:pt>
                <c:pt idx="139">
                  <c:v>4.3999999999999997E-2</c:v>
                </c:pt>
                <c:pt idx="140">
                  <c:v>4.3999999999999997E-2</c:v>
                </c:pt>
                <c:pt idx="141">
                  <c:v>4.3999999999999997E-2</c:v>
                </c:pt>
                <c:pt idx="142">
                  <c:v>4.3999999999999997E-2</c:v>
                </c:pt>
                <c:pt idx="143">
                  <c:v>4.3999999999999997E-2</c:v>
                </c:pt>
                <c:pt idx="144">
                  <c:v>4.3999999999999997E-2</c:v>
                </c:pt>
                <c:pt idx="145">
                  <c:v>4.3999999999999997E-2</c:v>
                </c:pt>
                <c:pt idx="146">
                  <c:v>4.3999999999999997E-2</c:v>
                </c:pt>
                <c:pt idx="147">
                  <c:v>4.3999999999999997E-2</c:v>
                </c:pt>
                <c:pt idx="148">
                  <c:v>4.3999999999999997E-2</c:v>
                </c:pt>
                <c:pt idx="149">
                  <c:v>4.3999999999999997E-2</c:v>
                </c:pt>
                <c:pt idx="150">
                  <c:v>4.3999999999999997E-2</c:v>
                </c:pt>
                <c:pt idx="151">
                  <c:v>4.3999999999999997E-2</c:v>
                </c:pt>
                <c:pt idx="152">
                  <c:v>0.14799999999999999</c:v>
                </c:pt>
                <c:pt idx="153">
                  <c:v>0.14799999999999999</c:v>
                </c:pt>
                <c:pt idx="154">
                  <c:v>0.14799999999999999</c:v>
                </c:pt>
                <c:pt idx="155">
                  <c:v>0.14799999999999999</c:v>
                </c:pt>
                <c:pt idx="156">
                  <c:v>0.14799999999999999</c:v>
                </c:pt>
                <c:pt idx="157">
                  <c:v>0.14799999999999999</c:v>
                </c:pt>
                <c:pt idx="158">
                  <c:v>0.14799999999999999</c:v>
                </c:pt>
                <c:pt idx="159">
                  <c:v>0.14799999999999999</c:v>
                </c:pt>
                <c:pt idx="160">
                  <c:v>0.14799999999999999</c:v>
                </c:pt>
                <c:pt idx="161">
                  <c:v>0.14799999999999999</c:v>
                </c:pt>
                <c:pt idx="162">
                  <c:v>0.14799999999999999</c:v>
                </c:pt>
                <c:pt idx="163">
                  <c:v>0.14799999999999999</c:v>
                </c:pt>
                <c:pt idx="164">
                  <c:v>0.14799999999999999</c:v>
                </c:pt>
                <c:pt idx="165">
                  <c:v>0.14799999999999999</c:v>
                </c:pt>
                <c:pt idx="166">
                  <c:v>0.14799999999999999</c:v>
                </c:pt>
                <c:pt idx="167">
                  <c:v>0.14799999999999999</c:v>
                </c:pt>
                <c:pt idx="168">
                  <c:v>0.14799999999999999</c:v>
                </c:pt>
                <c:pt idx="169">
                  <c:v>0.14799999999999999</c:v>
                </c:pt>
                <c:pt idx="170">
                  <c:v>0.14799999999999999</c:v>
                </c:pt>
                <c:pt idx="171">
                  <c:v>0.14799999999999999</c:v>
                </c:pt>
                <c:pt idx="172">
                  <c:v>0.14799999999999999</c:v>
                </c:pt>
                <c:pt idx="173">
                  <c:v>0.14799999999999999</c:v>
                </c:pt>
                <c:pt idx="174">
                  <c:v>0.14799999999999999</c:v>
                </c:pt>
                <c:pt idx="175">
                  <c:v>0.14799999999999999</c:v>
                </c:pt>
                <c:pt idx="176">
                  <c:v>0.14799999999999999</c:v>
                </c:pt>
                <c:pt idx="177">
                  <c:v>0.14799999999999999</c:v>
                </c:pt>
                <c:pt idx="178">
                  <c:v>0.14799999999999999</c:v>
                </c:pt>
                <c:pt idx="179">
                  <c:v>0.14799999999999999</c:v>
                </c:pt>
                <c:pt idx="180">
                  <c:v>0.14799999999999999</c:v>
                </c:pt>
                <c:pt idx="181">
                  <c:v>0.14799999999999999</c:v>
                </c:pt>
                <c:pt idx="182">
                  <c:v>0.13300000000000001</c:v>
                </c:pt>
                <c:pt idx="183">
                  <c:v>0.13300000000000001</c:v>
                </c:pt>
                <c:pt idx="184">
                  <c:v>0.13300000000000001</c:v>
                </c:pt>
                <c:pt idx="185">
                  <c:v>0.13300000000000001</c:v>
                </c:pt>
                <c:pt idx="186">
                  <c:v>0.13300000000000001</c:v>
                </c:pt>
                <c:pt idx="187">
                  <c:v>0.13300000000000001</c:v>
                </c:pt>
                <c:pt idx="188">
                  <c:v>0.13300000000000001</c:v>
                </c:pt>
                <c:pt idx="189">
                  <c:v>0.13300000000000001</c:v>
                </c:pt>
                <c:pt idx="190">
                  <c:v>0.13300000000000001</c:v>
                </c:pt>
                <c:pt idx="191">
                  <c:v>0.13300000000000001</c:v>
                </c:pt>
                <c:pt idx="192">
                  <c:v>0.13300000000000001</c:v>
                </c:pt>
                <c:pt idx="193">
                  <c:v>0.13300000000000001</c:v>
                </c:pt>
                <c:pt idx="194">
                  <c:v>0.13300000000000001</c:v>
                </c:pt>
                <c:pt idx="195">
                  <c:v>0.13300000000000001</c:v>
                </c:pt>
                <c:pt idx="196">
                  <c:v>0.13300000000000001</c:v>
                </c:pt>
                <c:pt idx="197">
                  <c:v>0.13300000000000001</c:v>
                </c:pt>
                <c:pt idx="198">
                  <c:v>0.13300000000000001</c:v>
                </c:pt>
                <c:pt idx="199">
                  <c:v>0.13300000000000001</c:v>
                </c:pt>
                <c:pt idx="200">
                  <c:v>0.13300000000000001</c:v>
                </c:pt>
                <c:pt idx="201">
                  <c:v>0.13300000000000001</c:v>
                </c:pt>
                <c:pt idx="202">
                  <c:v>0.13300000000000001</c:v>
                </c:pt>
                <c:pt idx="203">
                  <c:v>0.13300000000000001</c:v>
                </c:pt>
                <c:pt idx="204">
                  <c:v>0.13300000000000001</c:v>
                </c:pt>
                <c:pt idx="205">
                  <c:v>0.13300000000000001</c:v>
                </c:pt>
                <c:pt idx="206">
                  <c:v>0.13300000000000001</c:v>
                </c:pt>
                <c:pt idx="207">
                  <c:v>0.13300000000000001</c:v>
                </c:pt>
                <c:pt idx="208">
                  <c:v>0.13300000000000001</c:v>
                </c:pt>
                <c:pt idx="209">
                  <c:v>0.13300000000000001</c:v>
                </c:pt>
                <c:pt idx="210">
                  <c:v>0.13300000000000001</c:v>
                </c:pt>
                <c:pt idx="211">
                  <c:v>0.13300000000000001</c:v>
                </c:pt>
                <c:pt idx="212">
                  <c:v>0.13300000000000001</c:v>
                </c:pt>
                <c:pt idx="213">
                  <c:v>0.111</c:v>
                </c:pt>
                <c:pt idx="214">
                  <c:v>0.111</c:v>
                </c:pt>
                <c:pt idx="215">
                  <c:v>0.111</c:v>
                </c:pt>
                <c:pt idx="216">
                  <c:v>0.111</c:v>
                </c:pt>
                <c:pt idx="217">
                  <c:v>0.111</c:v>
                </c:pt>
                <c:pt idx="218">
                  <c:v>0.111</c:v>
                </c:pt>
                <c:pt idx="219">
                  <c:v>0.111</c:v>
                </c:pt>
                <c:pt idx="220">
                  <c:v>0.111</c:v>
                </c:pt>
                <c:pt idx="221">
                  <c:v>0.111</c:v>
                </c:pt>
                <c:pt idx="222">
                  <c:v>0.111</c:v>
                </c:pt>
                <c:pt idx="223">
                  <c:v>0.111</c:v>
                </c:pt>
                <c:pt idx="224">
                  <c:v>0.111</c:v>
                </c:pt>
                <c:pt idx="225">
                  <c:v>0.111</c:v>
                </c:pt>
                <c:pt idx="226">
                  <c:v>0.111</c:v>
                </c:pt>
                <c:pt idx="227">
                  <c:v>0.111</c:v>
                </c:pt>
                <c:pt idx="228">
                  <c:v>0.111</c:v>
                </c:pt>
                <c:pt idx="229">
                  <c:v>0.111</c:v>
                </c:pt>
                <c:pt idx="230">
                  <c:v>0.111</c:v>
                </c:pt>
                <c:pt idx="231">
                  <c:v>0.111</c:v>
                </c:pt>
                <c:pt idx="232">
                  <c:v>0.111</c:v>
                </c:pt>
                <c:pt idx="233">
                  <c:v>0.111</c:v>
                </c:pt>
                <c:pt idx="234">
                  <c:v>0.111</c:v>
                </c:pt>
                <c:pt idx="235">
                  <c:v>0.111</c:v>
                </c:pt>
                <c:pt idx="236">
                  <c:v>0.111</c:v>
                </c:pt>
                <c:pt idx="237">
                  <c:v>0.111</c:v>
                </c:pt>
                <c:pt idx="238">
                  <c:v>0.111</c:v>
                </c:pt>
                <c:pt idx="239">
                  <c:v>0.111</c:v>
                </c:pt>
                <c:pt idx="240">
                  <c:v>0.111</c:v>
                </c:pt>
                <c:pt idx="241">
                  <c:v>0.111</c:v>
                </c:pt>
                <c:pt idx="242">
                  <c:v>0.111</c:v>
                </c:pt>
                <c:pt idx="243">
                  <c:v>0.10299999999999999</c:v>
                </c:pt>
                <c:pt idx="244">
                  <c:v>0.10299999999999999</c:v>
                </c:pt>
                <c:pt idx="245">
                  <c:v>0.10299999999999999</c:v>
                </c:pt>
                <c:pt idx="246">
                  <c:v>0.10299999999999999</c:v>
                </c:pt>
                <c:pt idx="247">
                  <c:v>0.10299999999999999</c:v>
                </c:pt>
                <c:pt idx="248">
                  <c:v>0.10299999999999999</c:v>
                </c:pt>
                <c:pt idx="249">
                  <c:v>0.10299999999999999</c:v>
                </c:pt>
                <c:pt idx="250">
                  <c:v>0.10299999999999999</c:v>
                </c:pt>
                <c:pt idx="251">
                  <c:v>0.10299999999999999</c:v>
                </c:pt>
                <c:pt idx="252">
                  <c:v>0.10299999999999999</c:v>
                </c:pt>
                <c:pt idx="253">
                  <c:v>0.10299999999999999</c:v>
                </c:pt>
                <c:pt idx="254">
                  <c:v>0.10299999999999999</c:v>
                </c:pt>
                <c:pt idx="255">
                  <c:v>0.10299999999999999</c:v>
                </c:pt>
                <c:pt idx="256">
                  <c:v>0.10299999999999999</c:v>
                </c:pt>
                <c:pt idx="257">
                  <c:v>0.10299999999999999</c:v>
                </c:pt>
                <c:pt idx="258">
                  <c:v>0.10299999999999999</c:v>
                </c:pt>
                <c:pt idx="259">
                  <c:v>0.10299999999999999</c:v>
                </c:pt>
                <c:pt idx="260">
                  <c:v>0.10299999999999999</c:v>
                </c:pt>
                <c:pt idx="261">
                  <c:v>0.10299999999999999</c:v>
                </c:pt>
                <c:pt idx="262">
                  <c:v>0.10299999999999999</c:v>
                </c:pt>
                <c:pt idx="263">
                  <c:v>0.10299999999999999</c:v>
                </c:pt>
                <c:pt idx="264">
                  <c:v>0.10299999999999999</c:v>
                </c:pt>
                <c:pt idx="265">
                  <c:v>0.10299999999999999</c:v>
                </c:pt>
                <c:pt idx="266">
                  <c:v>0.10299999999999999</c:v>
                </c:pt>
                <c:pt idx="267">
                  <c:v>0.10299999999999999</c:v>
                </c:pt>
                <c:pt idx="268">
                  <c:v>0.10299999999999999</c:v>
                </c:pt>
                <c:pt idx="269">
                  <c:v>0.10299999999999999</c:v>
                </c:pt>
                <c:pt idx="270">
                  <c:v>0.10299999999999999</c:v>
                </c:pt>
                <c:pt idx="271">
                  <c:v>0.10299999999999999</c:v>
                </c:pt>
                <c:pt idx="272">
                  <c:v>0.10299999999999999</c:v>
                </c:pt>
                <c:pt idx="273">
                  <c:v>0.10299999999999999</c:v>
                </c:pt>
                <c:pt idx="274">
                  <c:v>8.5999999999999993E-2</c:v>
                </c:pt>
                <c:pt idx="275">
                  <c:v>8.5999999999999993E-2</c:v>
                </c:pt>
                <c:pt idx="276">
                  <c:v>8.5999999999999993E-2</c:v>
                </c:pt>
                <c:pt idx="277">
                  <c:v>8.5999999999999993E-2</c:v>
                </c:pt>
                <c:pt idx="278">
                  <c:v>8.5999999999999993E-2</c:v>
                </c:pt>
                <c:pt idx="279">
                  <c:v>8.5999999999999993E-2</c:v>
                </c:pt>
                <c:pt idx="280">
                  <c:v>8.5999999999999993E-2</c:v>
                </c:pt>
                <c:pt idx="281">
                  <c:v>8.5999999999999993E-2</c:v>
                </c:pt>
                <c:pt idx="282">
                  <c:v>8.5999999999999993E-2</c:v>
                </c:pt>
                <c:pt idx="283">
                  <c:v>8.5999999999999993E-2</c:v>
                </c:pt>
                <c:pt idx="284">
                  <c:v>8.5999999999999993E-2</c:v>
                </c:pt>
                <c:pt idx="285">
                  <c:v>8.5999999999999993E-2</c:v>
                </c:pt>
                <c:pt idx="286">
                  <c:v>8.5999999999999993E-2</c:v>
                </c:pt>
                <c:pt idx="287">
                  <c:v>8.5999999999999993E-2</c:v>
                </c:pt>
                <c:pt idx="288">
                  <c:v>8.5999999999999993E-2</c:v>
                </c:pt>
                <c:pt idx="289">
                  <c:v>8.5999999999999993E-2</c:v>
                </c:pt>
                <c:pt idx="290">
                  <c:v>8.5999999999999993E-2</c:v>
                </c:pt>
                <c:pt idx="291">
                  <c:v>8.5999999999999993E-2</c:v>
                </c:pt>
                <c:pt idx="292">
                  <c:v>8.5999999999999993E-2</c:v>
                </c:pt>
                <c:pt idx="293">
                  <c:v>8.5999999999999993E-2</c:v>
                </c:pt>
                <c:pt idx="294">
                  <c:v>8.5999999999999993E-2</c:v>
                </c:pt>
                <c:pt idx="295">
                  <c:v>8.5999999999999993E-2</c:v>
                </c:pt>
                <c:pt idx="296">
                  <c:v>8.5999999999999993E-2</c:v>
                </c:pt>
                <c:pt idx="297">
                  <c:v>8.5999999999999993E-2</c:v>
                </c:pt>
                <c:pt idx="298">
                  <c:v>8.5999999999999993E-2</c:v>
                </c:pt>
                <c:pt idx="299">
                  <c:v>8.5999999999999993E-2</c:v>
                </c:pt>
                <c:pt idx="300">
                  <c:v>8.5999999999999993E-2</c:v>
                </c:pt>
                <c:pt idx="301">
                  <c:v>8.5999999999999993E-2</c:v>
                </c:pt>
                <c:pt idx="302">
                  <c:v>8.5999999999999993E-2</c:v>
                </c:pt>
                <c:pt idx="303">
                  <c:v>8.5999999999999993E-2</c:v>
                </c:pt>
                <c:pt idx="304">
                  <c:v>8.5999999999999993E-2</c:v>
                </c:pt>
                <c:pt idx="305">
                  <c:v>8.1000000000000003E-2</c:v>
                </c:pt>
                <c:pt idx="306">
                  <c:v>8.1000000000000003E-2</c:v>
                </c:pt>
                <c:pt idx="307">
                  <c:v>8.1000000000000003E-2</c:v>
                </c:pt>
                <c:pt idx="308">
                  <c:v>8.1000000000000003E-2</c:v>
                </c:pt>
                <c:pt idx="309">
                  <c:v>8.1000000000000003E-2</c:v>
                </c:pt>
                <c:pt idx="310">
                  <c:v>8.1000000000000003E-2</c:v>
                </c:pt>
                <c:pt idx="311">
                  <c:v>8.1000000000000003E-2</c:v>
                </c:pt>
                <c:pt idx="312">
                  <c:v>8.1000000000000003E-2</c:v>
                </c:pt>
                <c:pt idx="313">
                  <c:v>8.1000000000000003E-2</c:v>
                </c:pt>
                <c:pt idx="314">
                  <c:v>8.1000000000000003E-2</c:v>
                </c:pt>
                <c:pt idx="315">
                  <c:v>8.1000000000000003E-2</c:v>
                </c:pt>
                <c:pt idx="316">
                  <c:v>8.1000000000000003E-2</c:v>
                </c:pt>
                <c:pt idx="317">
                  <c:v>8.1000000000000003E-2</c:v>
                </c:pt>
                <c:pt idx="318">
                  <c:v>8.1000000000000003E-2</c:v>
                </c:pt>
                <c:pt idx="319">
                  <c:v>8.1000000000000003E-2</c:v>
                </c:pt>
                <c:pt idx="320">
                  <c:v>8.1000000000000003E-2</c:v>
                </c:pt>
                <c:pt idx="321">
                  <c:v>8.1000000000000003E-2</c:v>
                </c:pt>
                <c:pt idx="322">
                  <c:v>8.1000000000000003E-2</c:v>
                </c:pt>
                <c:pt idx="323">
                  <c:v>8.1000000000000003E-2</c:v>
                </c:pt>
                <c:pt idx="324">
                  <c:v>8.1000000000000003E-2</c:v>
                </c:pt>
                <c:pt idx="325">
                  <c:v>8.1000000000000003E-2</c:v>
                </c:pt>
                <c:pt idx="326">
                  <c:v>8.1000000000000003E-2</c:v>
                </c:pt>
                <c:pt idx="327">
                  <c:v>8.1000000000000003E-2</c:v>
                </c:pt>
                <c:pt idx="328">
                  <c:v>8.1000000000000003E-2</c:v>
                </c:pt>
                <c:pt idx="329">
                  <c:v>8.1000000000000003E-2</c:v>
                </c:pt>
                <c:pt idx="330">
                  <c:v>8.1000000000000003E-2</c:v>
                </c:pt>
                <c:pt idx="331">
                  <c:v>8.1000000000000003E-2</c:v>
                </c:pt>
                <c:pt idx="332">
                  <c:v>8.1000000000000003E-2</c:v>
                </c:pt>
                <c:pt idx="333">
                  <c:v>8.1000000000000003E-2</c:v>
                </c:pt>
                <c:pt idx="334">
                  <c:v>8.1000000000000003E-2</c:v>
                </c:pt>
                <c:pt idx="335">
                  <c:v>7.1999999999999995E-2</c:v>
                </c:pt>
                <c:pt idx="336">
                  <c:v>7.1999999999999995E-2</c:v>
                </c:pt>
                <c:pt idx="337">
                  <c:v>7.1999999999999995E-2</c:v>
                </c:pt>
                <c:pt idx="338">
                  <c:v>7.1999999999999995E-2</c:v>
                </c:pt>
                <c:pt idx="339">
                  <c:v>7.1999999999999995E-2</c:v>
                </c:pt>
                <c:pt idx="340">
                  <c:v>7.1999999999999995E-2</c:v>
                </c:pt>
                <c:pt idx="341">
                  <c:v>7.1999999999999995E-2</c:v>
                </c:pt>
                <c:pt idx="342">
                  <c:v>7.1999999999999995E-2</c:v>
                </c:pt>
                <c:pt idx="343">
                  <c:v>7.1999999999999995E-2</c:v>
                </c:pt>
                <c:pt idx="344">
                  <c:v>7.1999999999999995E-2</c:v>
                </c:pt>
                <c:pt idx="345">
                  <c:v>7.1999999999999995E-2</c:v>
                </c:pt>
                <c:pt idx="346">
                  <c:v>7.1999999999999995E-2</c:v>
                </c:pt>
                <c:pt idx="347">
                  <c:v>7.1999999999999995E-2</c:v>
                </c:pt>
                <c:pt idx="348">
                  <c:v>7.1999999999999995E-2</c:v>
                </c:pt>
                <c:pt idx="349">
                  <c:v>7.1999999999999995E-2</c:v>
                </c:pt>
                <c:pt idx="350">
                  <c:v>7.1999999999999995E-2</c:v>
                </c:pt>
                <c:pt idx="351">
                  <c:v>7.1999999999999995E-2</c:v>
                </c:pt>
                <c:pt idx="352">
                  <c:v>7.1999999999999995E-2</c:v>
                </c:pt>
                <c:pt idx="353">
                  <c:v>7.1999999999999995E-2</c:v>
                </c:pt>
                <c:pt idx="354">
                  <c:v>7.1999999999999995E-2</c:v>
                </c:pt>
                <c:pt idx="355">
                  <c:v>7.1999999999999995E-2</c:v>
                </c:pt>
                <c:pt idx="356">
                  <c:v>7.1999999999999995E-2</c:v>
                </c:pt>
                <c:pt idx="357">
                  <c:v>7.1999999999999995E-2</c:v>
                </c:pt>
                <c:pt idx="358">
                  <c:v>7.1999999999999995E-2</c:v>
                </c:pt>
                <c:pt idx="359">
                  <c:v>7.1999999999999995E-2</c:v>
                </c:pt>
                <c:pt idx="360">
                  <c:v>7.1999999999999995E-2</c:v>
                </c:pt>
                <c:pt idx="361">
                  <c:v>7.1999999999999995E-2</c:v>
                </c:pt>
                <c:pt idx="362">
                  <c:v>7.1999999999999995E-2</c:v>
                </c:pt>
                <c:pt idx="363">
                  <c:v>7.1999999999999995E-2</c:v>
                </c:pt>
                <c:pt idx="364">
                  <c:v>7.1999999999999995E-2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45048623"/>
        <c:axId val="1845051535"/>
      </c:lineChart>
      <c:dateAx>
        <c:axId val="-955199408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 val="autoZero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Revenue (in USD)</a:t>
                </a:r>
                <a:endParaRPr lang="en-IN" b="1"/>
              </a:p>
            </c:rich>
          </c:tx>
          <c:layout>
            <c:manualLayout>
              <c:xMode val="edge"/>
              <c:yMode val="edge"/>
              <c:x val="1.7067833942136307E-2"/>
              <c:y val="0.214663826403764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1845051535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 i="0" kern="1200" baseline="0" dirty="0">
                    <a:solidFill>
                      <a:srgbClr val="000000"/>
                    </a:solidFill>
                    <a:effectLst/>
                  </a:rPr>
                  <a:t>Unemployment Rate(in 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5048623"/>
        <c:crosses val="max"/>
        <c:crossBetween val="between"/>
      </c:valAx>
      <c:dateAx>
        <c:axId val="1845048623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45051535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677907955522532"/>
          <c:y val="0.89640992560702837"/>
          <c:w val="0.26644184088954936"/>
          <c:h val="6.44093085870944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j-ea"/>
                <a:cs typeface="+mj-cs"/>
              </a:rPr>
              <a:t>GD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647250685203459E-2"/>
          <c:y val="0.1110100897260959"/>
          <c:w val="0.85009385801103066"/>
          <c:h val="0.58994024767250741"/>
        </c:manualLayout>
      </c:layou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Revenu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General</c:formatCode>
                <c:ptCount val="365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DP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#,##0</c:formatCode>
                <c:ptCount val="365"/>
                <c:pt idx="0">
                  <c:v>99.94</c:v>
                </c:pt>
                <c:pt idx="1">
                  <c:v>99.94</c:v>
                </c:pt>
                <c:pt idx="2">
                  <c:v>99.94</c:v>
                </c:pt>
                <c:pt idx="3">
                  <c:v>99.94</c:v>
                </c:pt>
                <c:pt idx="4">
                  <c:v>99.94</c:v>
                </c:pt>
                <c:pt idx="5">
                  <c:v>99.94</c:v>
                </c:pt>
                <c:pt idx="6">
                  <c:v>99.94</c:v>
                </c:pt>
                <c:pt idx="7">
                  <c:v>99.94</c:v>
                </c:pt>
                <c:pt idx="8">
                  <c:v>99.94</c:v>
                </c:pt>
                <c:pt idx="9">
                  <c:v>99.94</c:v>
                </c:pt>
                <c:pt idx="10">
                  <c:v>99.94</c:v>
                </c:pt>
                <c:pt idx="11">
                  <c:v>99.94</c:v>
                </c:pt>
                <c:pt idx="12">
                  <c:v>99.94</c:v>
                </c:pt>
                <c:pt idx="13">
                  <c:v>99.94</c:v>
                </c:pt>
                <c:pt idx="14">
                  <c:v>99.94</c:v>
                </c:pt>
                <c:pt idx="15">
                  <c:v>99.94</c:v>
                </c:pt>
                <c:pt idx="16">
                  <c:v>99.94</c:v>
                </c:pt>
                <c:pt idx="17">
                  <c:v>99.94</c:v>
                </c:pt>
                <c:pt idx="18">
                  <c:v>99.94</c:v>
                </c:pt>
                <c:pt idx="19">
                  <c:v>99.94</c:v>
                </c:pt>
                <c:pt idx="20">
                  <c:v>99.94</c:v>
                </c:pt>
                <c:pt idx="21">
                  <c:v>99.94</c:v>
                </c:pt>
                <c:pt idx="22">
                  <c:v>99.94</c:v>
                </c:pt>
                <c:pt idx="23">
                  <c:v>99.94</c:v>
                </c:pt>
                <c:pt idx="24">
                  <c:v>99.94</c:v>
                </c:pt>
                <c:pt idx="25">
                  <c:v>99.94</c:v>
                </c:pt>
                <c:pt idx="26">
                  <c:v>99.94</c:v>
                </c:pt>
                <c:pt idx="27">
                  <c:v>99.94</c:v>
                </c:pt>
                <c:pt idx="28">
                  <c:v>99.94</c:v>
                </c:pt>
                <c:pt idx="29">
                  <c:v>99.94</c:v>
                </c:pt>
                <c:pt idx="30">
                  <c:v>99.95</c:v>
                </c:pt>
                <c:pt idx="31">
                  <c:v>99.95</c:v>
                </c:pt>
                <c:pt idx="32">
                  <c:v>99.95</c:v>
                </c:pt>
                <c:pt idx="33">
                  <c:v>99.95</c:v>
                </c:pt>
                <c:pt idx="34">
                  <c:v>99.95</c:v>
                </c:pt>
                <c:pt idx="35">
                  <c:v>99.95</c:v>
                </c:pt>
                <c:pt idx="36">
                  <c:v>99.95</c:v>
                </c:pt>
                <c:pt idx="37">
                  <c:v>99.95</c:v>
                </c:pt>
                <c:pt idx="38">
                  <c:v>99.95</c:v>
                </c:pt>
                <c:pt idx="39">
                  <c:v>99.95</c:v>
                </c:pt>
                <c:pt idx="40">
                  <c:v>99.95</c:v>
                </c:pt>
                <c:pt idx="41">
                  <c:v>99.95</c:v>
                </c:pt>
                <c:pt idx="42">
                  <c:v>99.95</c:v>
                </c:pt>
                <c:pt idx="43">
                  <c:v>99.95</c:v>
                </c:pt>
                <c:pt idx="44">
                  <c:v>99.95</c:v>
                </c:pt>
                <c:pt idx="45">
                  <c:v>99.95</c:v>
                </c:pt>
                <c:pt idx="46">
                  <c:v>99.95</c:v>
                </c:pt>
                <c:pt idx="47">
                  <c:v>99.95</c:v>
                </c:pt>
                <c:pt idx="48">
                  <c:v>99.95</c:v>
                </c:pt>
                <c:pt idx="49">
                  <c:v>99.95</c:v>
                </c:pt>
                <c:pt idx="50">
                  <c:v>99.95</c:v>
                </c:pt>
                <c:pt idx="51">
                  <c:v>99.95</c:v>
                </c:pt>
                <c:pt idx="52">
                  <c:v>99.95</c:v>
                </c:pt>
                <c:pt idx="53">
                  <c:v>99.95</c:v>
                </c:pt>
                <c:pt idx="54">
                  <c:v>99.95</c:v>
                </c:pt>
                <c:pt idx="55">
                  <c:v>99.95</c:v>
                </c:pt>
                <c:pt idx="56">
                  <c:v>99.95</c:v>
                </c:pt>
                <c:pt idx="57">
                  <c:v>99.95</c:v>
                </c:pt>
                <c:pt idx="58">
                  <c:v>99.95</c:v>
                </c:pt>
                <c:pt idx="59">
                  <c:v>99.95</c:v>
                </c:pt>
                <c:pt idx="60">
                  <c:v>99.95</c:v>
                </c:pt>
                <c:pt idx="61">
                  <c:v>99.96</c:v>
                </c:pt>
                <c:pt idx="62">
                  <c:v>99.96</c:v>
                </c:pt>
                <c:pt idx="63">
                  <c:v>99.96</c:v>
                </c:pt>
                <c:pt idx="64">
                  <c:v>99.96</c:v>
                </c:pt>
                <c:pt idx="65">
                  <c:v>99.96</c:v>
                </c:pt>
                <c:pt idx="66">
                  <c:v>99.96</c:v>
                </c:pt>
                <c:pt idx="67">
                  <c:v>99.96</c:v>
                </c:pt>
                <c:pt idx="68">
                  <c:v>99.96</c:v>
                </c:pt>
                <c:pt idx="69">
                  <c:v>99.96</c:v>
                </c:pt>
                <c:pt idx="70">
                  <c:v>99.96</c:v>
                </c:pt>
                <c:pt idx="71">
                  <c:v>99.96</c:v>
                </c:pt>
                <c:pt idx="72">
                  <c:v>99.96</c:v>
                </c:pt>
                <c:pt idx="73">
                  <c:v>99.96</c:v>
                </c:pt>
                <c:pt idx="74">
                  <c:v>99.96</c:v>
                </c:pt>
                <c:pt idx="75">
                  <c:v>99.96</c:v>
                </c:pt>
                <c:pt idx="76">
                  <c:v>99.96</c:v>
                </c:pt>
                <c:pt idx="77">
                  <c:v>99.96</c:v>
                </c:pt>
                <c:pt idx="78">
                  <c:v>99.96</c:v>
                </c:pt>
                <c:pt idx="79">
                  <c:v>99.96</c:v>
                </c:pt>
                <c:pt idx="80">
                  <c:v>99.96</c:v>
                </c:pt>
                <c:pt idx="81">
                  <c:v>99.96</c:v>
                </c:pt>
                <c:pt idx="82">
                  <c:v>99.96</c:v>
                </c:pt>
                <c:pt idx="83">
                  <c:v>99.96</c:v>
                </c:pt>
                <c:pt idx="84">
                  <c:v>99.96</c:v>
                </c:pt>
                <c:pt idx="85">
                  <c:v>99.96</c:v>
                </c:pt>
                <c:pt idx="86">
                  <c:v>99.96</c:v>
                </c:pt>
                <c:pt idx="87">
                  <c:v>99.96</c:v>
                </c:pt>
                <c:pt idx="88">
                  <c:v>99.96</c:v>
                </c:pt>
                <c:pt idx="89">
                  <c:v>99.96</c:v>
                </c:pt>
                <c:pt idx="90">
                  <c:v>99.96</c:v>
                </c:pt>
                <c:pt idx="91">
                  <c:v>99.96</c:v>
                </c:pt>
                <c:pt idx="92">
                  <c:v>99.98</c:v>
                </c:pt>
                <c:pt idx="93">
                  <c:v>99.98</c:v>
                </c:pt>
                <c:pt idx="94">
                  <c:v>99.98</c:v>
                </c:pt>
                <c:pt idx="95">
                  <c:v>99.98</c:v>
                </c:pt>
                <c:pt idx="96">
                  <c:v>99.98</c:v>
                </c:pt>
                <c:pt idx="97">
                  <c:v>99.98</c:v>
                </c:pt>
                <c:pt idx="98">
                  <c:v>99.98</c:v>
                </c:pt>
                <c:pt idx="99">
                  <c:v>99.98</c:v>
                </c:pt>
                <c:pt idx="100">
                  <c:v>99.98</c:v>
                </c:pt>
                <c:pt idx="101">
                  <c:v>99.98</c:v>
                </c:pt>
                <c:pt idx="102">
                  <c:v>99.98</c:v>
                </c:pt>
                <c:pt idx="103">
                  <c:v>99.98</c:v>
                </c:pt>
                <c:pt idx="104">
                  <c:v>99.98</c:v>
                </c:pt>
                <c:pt idx="105">
                  <c:v>99.98</c:v>
                </c:pt>
                <c:pt idx="106">
                  <c:v>99.98</c:v>
                </c:pt>
                <c:pt idx="107">
                  <c:v>99.98</c:v>
                </c:pt>
                <c:pt idx="108">
                  <c:v>99.98</c:v>
                </c:pt>
                <c:pt idx="109">
                  <c:v>99.98</c:v>
                </c:pt>
                <c:pt idx="110">
                  <c:v>99.98</c:v>
                </c:pt>
                <c:pt idx="111">
                  <c:v>99.98</c:v>
                </c:pt>
                <c:pt idx="112">
                  <c:v>99.98</c:v>
                </c:pt>
                <c:pt idx="113">
                  <c:v>99.98</c:v>
                </c:pt>
                <c:pt idx="114">
                  <c:v>99.98</c:v>
                </c:pt>
                <c:pt idx="115">
                  <c:v>99.98</c:v>
                </c:pt>
                <c:pt idx="116">
                  <c:v>99.98</c:v>
                </c:pt>
                <c:pt idx="117">
                  <c:v>99.98</c:v>
                </c:pt>
                <c:pt idx="118">
                  <c:v>99.98</c:v>
                </c:pt>
                <c:pt idx="119">
                  <c:v>99.98</c:v>
                </c:pt>
                <c:pt idx="120">
                  <c:v>99.98</c:v>
                </c:pt>
                <c:pt idx="121">
                  <c:v>95.14</c:v>
                </c:pt>
                <c:pt idx="122">
                  <c:v>95.14</c:v>
                </c:pt>
                <c:pt idx="123">
                  <c:v>95.14</c:v>
                </c:pt>
                <c:pt idx="124">
                  <c:v>95.14</c:v>
                </c:pt>
                <c:pt idx="125">
                  <c:v>95.14</c:v>
                </c:pt>
                <c:pt idx="126">
                  <c:v>95.14</c:v>
                </c:pt>
                <c:pt idx="127">
                  <c:v>95.14</c:v>
                </c:pt>
                <c:pt idx="128">
                  <c:v>95.14</c:v>
                </c:pt>
                <c:pt idx="129">
                  <c:v>95.14</c:v>
                </c:pt>
                <c:pt idx="130">
                  <c:v>95.14</c:v>
                </c:pt>
                <c:pt idx="131">
                  <c:v>95.14</c:v>
                </c:pt>
                <c:pt idx="132">
                  <c:v>95.14</c:v>
                </c:pt>
                <c:pt idx="133">
                  <c:v>95.14</c:v>
                </c:pt>
                <c:pt idx="134">
                  <c:v>95.14</c:v>
                </c:pt>
                <c:pt idx="135">
                  <c:v>95.14</c:v>
                </c:pt>
                <c:pt idx="136">
                  <c:v>95.14</c:v>
                </c:pt>
                <c:pt idx="137">
                  <c:v>95.14</c:v>
                </c:pt>
                <c:pt idx="138">
                  <c:v>95.14</c:v>
                </c:pt>
                <c:pt idx="139">
                  <c:v>95.14</c:v>
                </c:pt>
                <c:pt idx="140">
                  <c:v>95.14</c:v>
                </c:pt>
                <c:pt idx="141">
                  <c:v>95.14</c:v>
                </c:pt>
                <c:pt idx="142">
                  <c:v>95.14</c:v>
                </c:pt>
                <c:pt idx="143">
                  <c:v>95.14</c:v>
                </c:pt>
                <c:pt idx="144">
                  <c:v>95.14</c:v>
                </c:pt>
                <c:pt idx="145">
                  <c:v>95.14</c:v>
                </c:pt>
                <c:pt idx="146">
                  <c:v>95.14</c:v>
                </c:pt>
                <c:pt idx="147">
                  <c:v>95.14</c:v>
                </c:pt>
                <c:pt idx="148">
                  <c:v>95.14</c:v>
                </c:pt>
                <c:pt idx="149">
                  <c:v>95.14</c:v>
                </c:pt>
                <c:pt idx="150">
                  <c:v>95.14</c:v>
                </c:pt>
                <c:pt idx="151">
                  <c:v>95.14</c:v>
                </c:pt>
                <c:pt idx="152">
                  <c:v>92.12</c:v>
                </c:pt>
                <c:pt idx="153">
                  <c:v>92.12</c:v>
                </c:pt>
                <c:pt idx="154">
                  <c:v>92.12</c:v>
                </c:pt>
                <c:pt idx="155">
                  <c:v>92.12</c:v>
                </c:pt>
                <c:pt idx="156">
                  <c:v>92.12</c:v>
                </c:pt>
                <c:pt idx="157">
                  <c:v>92.12</c:v>
                </c:pt>
                <c:pt idx="158">
                  <c:v>92.12</c:v>
                </c:pt>
                <c:pt idx="159">
                  <c:v>92.12</c:v>
                </c:pt>
                <c:pt idx="160">
                  <c:v>92.12</c:v>
                </c:pt>
                <c:pt idx="161">
                  <c:v>92.12</c:v>
                </c:pt>
                <c:pt idx="162">
                  <c:v>92.12</c:v>
                </c:pt>
                <c:pt idx="163">
                  <c:v>92.12</c:v>
                </c:pt>
                <c:pt idx="164">
                  <c:v>92.12</c:v>
                </c:pt>
                <c:pt idx="165">
                  <c:v>92.12</c:v>
                </c:pt>
                <c:pt idx="166">
                  <c:v>92.12</c:v>
                </c:pt>
                <c:pt idx="167">
                  <c:v>92.12</c:v>
                </c:pt>
                <c:pt idx="168">
                  <c:v>92.12</c:v>
                </c:pt>
                <c:pt idx="169">
                  <c:v>92.12</c:v>
                </c:pt>
                <c:pt idx="170">
                  <c:v>92.12</c:v>
                </c:pt>
                <c:pt idx="171">
                  <c:v>92.12</c:v>
                </c:pt>
                <c:pt idx="172">
                  <c:v>92.12</c:v>
                </c:pt>
                <c:pt idx="173">
                  <c:v>92.12</c:v>
                </c:pt>
                <c:pt idx="174">
                  <c:v>92.12</c:v>
                </c:pt>
                <c:pt idx="175">
                  <c:v>92.12</c:v>
                </c:pt>
                <c:pt idx="176">
                  <c:v>92.12</c:v>
                </c:pt>
                <c:pt idx="177">
                  <c:v>92.12</c:v>
                </c:pt>
                <c:pt idx="178">
                  <c:v>92.12</c:v>
                </c:pt>
                <c:pt idx="179">
                  <c:v>92.12</c:v>
                </c:pt>
                <c:pt idx="180">
                  <c:v>92.12</c:v>
                </c:pt>
                <c:pt idx="181">
                  <c:v>92.12</c:v>
                </c:pt>
                <c:pt idx="182">
                  <c:v>90.54</c:v>
                </c:pt>
                <c:pt idx="183">
                  <c:v>90.54</c:v>
                </c:pt>
                <c:pt idx="184">
                  <c:v>90.54</c:v>
                </c:pt>
                <c:pt idx="185">
                  <c:v>90.54</c:v>
                </c:pt>
                <c:pt idx="186">
                  <c:v>90.54</c:v>
                </c:pt>
                <c:pt idx="187">
                  <c:v>90.54</c:v>
                </c:pt>
                <c:pt idx="188">
                  <c:v>90.54</c:v>
                </c:pt>
                <c:pt idx="189">
                  <c:v>90.54</c:v>
                </c:pt>
                <c:pt idx="190">
                  <c:v>90.54</c:v>
                </c:pt>
                <c:pt idx="191">
                  <c:v>90.54</c:v>
                </c:pt>
                <c:pt idx="192">
                  <c:v>90.54</c:v>
                </c:pt>
                <c:pt idx="193">
                  <c:v>90.54</c:v>
                </c:pt>
                <c:pt idx="194">
                  <c:v>90.54</c:v>
                </c:pt>
                <c:pt idx="195">
                  <c:v>90.54</c:v>
                </c:pt>
                <c:pt idx="196">
                  <c:v>90.54</c:v>
                </c:pt>
                <c:pt idx="197">
                  <c:v>90.54</c:v>
                </c:pt>
                <c:pt idx="198">
                  <c:v>90.54</c:v>
                </c:pt>
                <c:pt idx="199">
                  <c:v>90.54</c:v>
                </c:pt>
                <c:pt idx="200">
                  <c:v>90.54</c:v>
                </c:pt>
                <c:pt idx="201">
                  <c:v>90.54</c:v>
                </c:pt>
                <c:pt idx="202">
                  <c:v>90.54</c:v>
                </c:pt>
                <c:pt idx="203">
                  <c:v>90.54</c:v>
                </c:pt>
                <c:pt idx="204">
                  <c:v>90.54</c:v>
                </c:pt>
                <c:pt idx="205">
                  <c:v>90.54</c:v>
                </c:pt>
                <c:pt idx="206">
                  <c:v>90.54</c:v>
                </c:pt>
                <c:pt idx="207">
                  <c:v>90.54</c:v>
                </c:pt>
                <c:pt idx="208">
                  <c:v>90.54</c:v>
                </c:pt>
                <c:pt idx="209">
                  <c:v>90.54</c:v>
                </c:pt>
                <c:pt idx="210">
                  <c:v>90.54</c:v>
                </c:pt>
                <c:pt idx="211">
                  <c:v>90.54</c:v>
                </c:pt>
                <c:pt idx="212">
                  <c:v>90.54</c:v>
                </c:pt>
                <c:pt idx="213">
                  <c:v>92.21</c:v>
                </c:pt>
                <c:pt idx="214">
                  <c:v>92.21</c:v>
                </c:pt>
                <c:pt idx="215">
                  <c:v>92.21</c:v>
                </c:pt>
                <c:pt idx="216">
                  <c:v>92.21</c:v>
                </c:pt>
                <c:pt idx="217">
                  <c:v>92.21</c:v>
                </c:pt>
                <c:pt idx="218">
                  <c:v>92.21</c:v>
                </c:pt>
                <c:pt idx="219">
                  <c:v>92.21</c:v>
                </c:pt>
                <c:pt idx="220">
                  <c:v>92.21</c:v>
                </c:pt>
                <c:pt idx="221">
                  <c:v>92.21</c:v>
                </c:pt>
                <c:pt idx="222">
                  <c:v>92.21</c:v>
                </c:pt>
                <c:pt idx="223">
                  <c:v>92.21</c:v>
                </c:pt>
                <c:pt idx="224">
                  <c:v>92.21</c:v>
                </c:pt>
                <c:pt idx="225">
                  <c:v>92.21</c:v>
                </c:pt>
                <c:pt idx="226">
                  <c:v>92.21</c:v>
                </c:pt>
                <c:pt idx="227">
                  <c:v>92.21</c:v>
                </c:pt>
                <c:pt idx="228">
                  <c:v>92.21</c:v>
                </c:pt>
                <c:pt idx="229">
                  <c:v>92.21</c:v>
                </c:pt>
                <c:pt idx="230">
                  <c:v>92.21</c:v>
                </c:pt>
                <c:pt idx="231">
                  <c:v>92.21</c:v>
                </c:pt>
                <c:pt idx="232">
                  <c:v>92.21</c:v>
                </c:pt>
                <c:pt idx="233">
                  <c:v>92.21</c:v>
                </c:pt>
                <c:pt idx="234">
                  <c:v>92.21</c:v>
                </c:pt>
                <c:pt idx="235">
                  <c:v>92.21</c:v>
                </c:pt>
                <c:pt idx="236">
                  <c:v>92.21</c:v>
                </c:pt>
                <c:pt idx="237">
                  <c:v>92.21</c:v>
                </c:pt>
                <c:pt idx="238">
                  <c:v>92.21</c:v>
                </c:pt>
                <c:pt idx="239">
                  <c:v>92.21</c:v>
                </c:pt>
                <c:pt idx="240">
                  <c:v>92.21</c:v>
                </c:pt>
                <c:pt idx="241">
                  <c:v>92.21</c:v>
                </c:pt>
                <c:pt idx="242">
                  <c:v>92.21</c:v>
                </c:pt>
                <c:pt idx="243">
                  <c:v>93.87</c:v>
                </c:pt>
                <c:pt idx="244">
                  <c:v>93.87</c:v>
                </c:pt>
                <c:pt idx="245">
                  <c:v>93.87</c:v>
                </c:pt>
                <c:pt idx="246">
                  <c:v>93.87</c:v>
                </c:pt>
                <c:pt idx="247">
                  <c:v>93.87</c:v>
                </c:pt>
                <c:pt idx="248">
                  <c:v>93.87</c:v>
                </c:pt>
                <c:pt idx="249">
                  <c:v>93.87</c:v>
                </c:pt>
                <c:pt idx="250">
                  <c:v>93.87</c:v>
                </c:pt>
                <c:pt idx="251">
                  <c:v>93.87</c:v>
                </c:pt>
                <c:pt idx="252">
                  <c:v>93.87</c:v>
                </c:pt>
                <c:pt idx="253">
                  <c:v>93.87</c:v>
                </c:pt>
                <c:pt idx="254">
                  <c:v>93.87</c:v>
                </c:pt>
                <c:pt idx="255">
                  <c:v>93.87</c:v>
                </c:pt>
                <c:pt idx="256">
                  <c:v>93.87</c:v>
                </c:pt>
                <c:pt idx="257">
                  <c:v>93.87</c:v>
                </c:pt>
                <c:pt idx="258">
                  <c:v>93.87</c:v>
                </c:pt>
                <c:pt idx="259">
                  <c:v>93.87</c:v>
                </c:pt>
                <c:pt idx="260">
                  <c:v>93.87</c:v>
                </c:pt>
                <c:pt idx="261">
                  <c:v>93.87</c:v>
                </c:pt>
                <c:pt idx="262">
                  <c:v>93.87</c:v>
                </c:pt>
                <c:pt idx="263">
                  <c:v>93.87</c:v>
                </c:pt>
                <c:pt idx="264">
                  <c:v>93.87</c:v>
                </c:pt>
                <c:pt idx="265">
                  <c:v>93.87</c:v>
                </c:pt>
                <c:pt idx="266">
                  <c:v>93.87</c:v>
                </c:pt>
                <c:pt idx="267">
                  <c:v>93.87</c:v>
                </c:pt>
                <c:pt idx="268">
                  <c:v>93.87</c:v>
                </c:pt>
                <c:pt idx="269">
                  <c:v>93.87</c:v>
                </c:pt>
                <c:pt idx="270">
                  <c:v>93.87</c:v>
                </c:pt>
                <c:pt idx="271">
                  <c:v>93.87</c:v>
                </c:pt>
                <c:pt idx="272">
                  <c:v>93.87</c:v>
                </c:pt>
                <c:pt idx="273">
                  <c:v>93.87</c:v>
                </c:pt>
                <c:pt idx="274">
                  <c:v>95.53</c:v>
                </c:pt>
                <c:pt idx="275">
                  <c:v>95.53</c:v>
                </c:pt>
                <c:pt idx="276">
                  <c:v>95.53</c:v>
                </c:pt>
                <c:pt idx="277">
                  <c:v>95.53</c:v>
                </c:pt>
                <c:pt idx="278">
                  <c:v>95.53</c:v>
                </c:pt>
                <c:pt idx="279">
                  <c:v>95.53</c:v>
                </c:pt>
                <c:pt idx="280">
                  <c:v>95.53</c:v>
                </c:pt>
                <c:pt idx="281">
                  <c:v>95.53</c:v>
                </c:pt>
                <c:pt idx="282">
                  <c:v>95.53</c:v>
                </c:pt>
                <c:pt idx="283">
                  <c:v>95.53</c:v>
                </c:pt>
                <c:pt idx="284">
                  <c:v>95.53</c:v>
                </c:pt>
                <c:pt idx="285">
                  <c:v>95.53</c:v>
                </c:pt>
                <c:pt idx="286">
                  <c:v>95.53</c:v>
                </c:pt>
                <c:pt idx="287">
                  <c:v>95.53</c:v>
                </c:pt>
                <c:pt idx="288">
                  <c:v>95.53</c:v>
                </c:pt>
                <c:pt idx="289">
                  <c:v>95.53</c:v>
                </c:pt>
                <c:pt idx="290">
                  <c:v>95.53</c:v>
                </c:pt>
                <c:pt idx="291">
                  <c:v>95.53</c:v>
                </c:pt>
                <c:pt idx="292">
                  <c:v>95.53</c:v>
                </c:pt>
                <c:pt idx="293">
                  <c:v>95.53</c:v>
                </c:pt>
                <c:pt idx="294">
                  <c:v>95.53</c:v>
                </c:pt>
                <c:pt idx="295">
                  <c:v>95.53</c:v>
                </c:pt>
                <c:pt idx="296">
                  <c:v>95.53</c:v>
                </c:pt>
                <c:pt idx="297">
                  <c:v>95.53</c:v>
                </c:pt>
                <c:pt idx="298">
                  <c:v>95.53</c:v>
                </c:pt>
                <c:pt idx="299">
                  <c:v>95.53</c:v>
                </c:pt>
                <c:pt idx="300">
                  <c:v>95.53</c:v>
                </c:pt>
                <c:pt idx="301">
                  <c:v>95.53</c:v>
                </c:pt>
                <c:pt idx="302">
                  <c:v>95.53</c:v>
                </c:pt>
                <c:pt idx="303">
                  <c:v>95.53</c:v>
                </c:pt>
                <c:pt idx="304">
                  <c:v>95.53</c:v>
                </c:pt>
                <c:pt idx="305">
                  <c:v>94.42</c:v>
                </c:pt>
                <c:pt idx="306">
                  <c:v>94.42</c:v>
                </c:pt>
                <c:pt idx="307">
                  <c:v>94.42</c:v>
                </c:pt>
                <c:pt idx="308">
                  <c:v>94.42</c:v>
                </c:pt>
                <c:pt idx="309">
                  <c:v>94.42</c:v>
                </c:pt>
                <c:pt idx="310">
                  <c:v>94.42</c:v>
                </c:pt>
                <c:pt idx="311">
                  <c:v>94.42</c:v>
                </c:pt>
                <c:pt idx="312">
                  <c:v>94.42</c:v>
                </c:pt>
                <c:pt idx="313">
                  <c:v>94.42</c:v>
                </c:pt>
                <c:pt idx="314">
                  <c:v>94.42</c:v>
                </c:pt>
                <c:pt idx="315">
                  <c:v>94.42</c:v>
                </c:pt>
                <c:pt idx="316">
                  <c:v>94.42</c:v>
                </c:pt>
                <c:pt idx="317">
                  <c:v>94.42</c:v>
                </c:pt>
                <c:pt idx="318">
                  <c:v>94.42</c:v>
                </c:pt>
                <c:pt idx="319">
                  <c:v>94.42</c:v>
                </c:pt>
                <c:pt idx="320">
                  <c:v>94.42</c:v>
                </c:pt>
                <c:pt idx="321">
                  <c:v>94.42</c:v>
                </c:pt>
                <c:pt idx="322">
                  <c:v>94.42</c:v>
                </c:pt>
                <c:pt idx="323">
                  <c:v>94.42</c:v>
                </c:pt>
                <c:pt idx="324">
                  <c:v>94.42</c:v>
                </c:pt>
                <c:pt idx="325">
                  <c:v>94.42</c:v>
                </c:pt>
                <c:pt idx="326">
                  <c:v>94.42</c:v>
                </c:pt>
                <c:pt idx="327">
                  <c:v>94.42</c:v>
                </c:pt>
                <c:pt idx="328">
                  <c:v>94.42</c:v>
                </c:pt>
                <c:pt idx="329">
                  <c:v>94.42</c:v>
                </c:pt>
                <c:pt idx="330">
                  <c:v>94.42</c:v>
                </c:pt>
                <c:pt idx="331">
                  <c:v>94.42</c:v>
                </c:pt>
                <c:pt idx="332">
                  <c:v>94.42</c:v>
                </c:pt>
                <c:pt idx="333">
                  <c:v>94.42</c:v>
                </c:pt>
                <c:pt idx="334">
                  <c:v>94.42</c:v>
                </c:pt>
                <c:pt idx="335">
                  <c:v>94.4</c:v>
                </c:pt>
                <c:pt idx="336">
                  <c:v>94.4</c:v>
                </c:pt>
                <c:pt idx="337">
                  <c:v>94.4</c:v>
                </c:pt>
                <c:pt idx="338">
                  <c:v>94.4</c:v>
                </c:pt>
                <c:pt idx="339">
                  <c:v>94.4</c:v>
                </c:pt>
                <c:pt idx="340">
                  <c:v>94.4</c:v>
                </c:pt>
                <c:pt idx="341">
                  <c:v>94.4</c:v>
                </c:pt>
                <c:pt idx="342">
                  <c:v>94.4</c:v>
                </c:pt>
                <c:pt idx="343">
                  <c:v>94.4</c:v>
                </c:pt>
                <c:pt idx="344">
                  <c:v>94.4</c:v>
                </c:pt>
                <c:pt idx="345">
                  <c:v>94.4</c:v>
                </c:pt>
                <c:pt idx="346">
                  <c:v>94.4</c:v>
                </c:pt>
                <c:pt idx="347">
                  <c:v>94.4</c:v>
                </c:pt>
                <c:pt idx="348">
                  <c:v>94.4</c:v>
                </c:pt>
                <c:pt idx="349">
                  <c:v>94.4</c:v>
                </c:pt>
                <c:pt idx="350">
                  <c:v>94.4</c:v>
                </c:pt>
                <c:pt idx="351">
                  <c:v>94.4</c:v>
                </c:pt>
                <c:pt idx="352">
                  <c:v>94.4</c:v>
                </c:pt>
                <c:pt idx="353">
                  <c:v>94.4</c:v>
                </c:pt>
                <c:pt idx="354">
                  <c:v>94.4</c:v>
                </c:pt>
                <c:pt idx="355">
                  <c:v>94.4</c:v>
                </c:pt>
                <c:pt idx="356">
                  <c:v>94.4</c:v>
                </c:pt>
                <c:pt idx="357">
                  <c:v>94.4</c:v>
                </c:pt>
                <c:pt idx="358">
                  <c:v>94.4</c:v>
                </c:pt>
                <c:pt idx="359">
                  <c:v>94.4</c:v>
                </c:pt>
                <c:pt idx="360">
                  <c:v>94.4</c:v>
                </c:pt>
                <c:pt idx="361">
                  <c:v>94.4</c:v>
                </c:pt>
                <c:pt idx="362">
                  <c:v>94.4</c:v>
                </c:pt>
                <c:pt idx="363">
                  <c:v>94.4</c:v>
                </c:pt>
                <c:pt idx="364">
                  <c:v>94.4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45048623"/>
        <c:axId val="1845051535"/>
      </c:lineChart>
      <c:dateAx>
        <c:axId val="-955199408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 val="autoZero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Revenue (in USD)</a:t>
                </a:r>
                <a:endParaRPr lang="en-IN" b="1"/>
              </a:p>
            </c:rich>
          </c:tx>
          <c:layout>
            <c:manualLayout>
              <c:xMode val="edge"/>
              <c:yMode val="edge"/>
              <c:x val="1.7067833942136307E-2"/>
              <c:y val="0.214663826403764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1845051535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 i="0" kern="1200" baseline="0" dirty="0">
                    <a:solidFill>
                      <a:srgbClr val="000000"/>
                    </a:solidFill>
                    <a:effectLst/>
                  </a:rPr>
                  <a:t>GDP (in Point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5048623"/>
        <c:crosses val="max"/>
        <c:crossBetween val="between"/>
      </c:valAx>
      <c:dateAx>
        <c:axId val="1845048623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45051535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677907955522532"/>
          <c:y val="0.89640992560702837"/>
          <c:w val="0.26644184088954936"/>
          <c:h val="6.44093085870944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b="1" dirty="0"/>
              <a:t>Events</a:t>
            </a:r>
            <a:endParaRPr lang="en-IN" b="1" dirty="0"/>
          </a:p>
        </c:rich>
      </c:tx>
      <c:layout>
        <c:manualLayout>
          <c:xMode val="edge"/>
          <c:yMode val="edge"/>
          <c:x val="0.50895439028832101"/>
          <c:y val="5.92669990873860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3772287053831154E-2"/>
          <c:y val="4.0427375674112087E-2"/>
          <c:w val="0.9128125773201069"/>
          <c:h val="0.7069960698328442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ame Update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 w="19050">
              <a:solidFill>
                <a:srgbClr val="00B050"/>
              </a:solidFill>
            </a:ln>
            <a:effectLst/>
          </c:spPr>
          <c:invertIfNegative val="0"/>
          <c:dPt>
            <c:idx val="49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DF0-4B58-9489-5AD9097FA8C3}"/>
              </c:ext>
            </c:extLst>
          </c:dPt>
          <c:dPt>
            <c:idx val="7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rgbClr val="FFFF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DF0-4B58-9489-5AD9097FA8C3}"/>
              </c:ext>
            </c:extLst>
          </c:dPt>
          <c:dPt>
            <c:idx val="126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accent2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DF0-4B58-9489-5AD9097FA8C3}"/>
              </c:ext>
            </c:extLst>
          </c:dPt>
          <c:dPt>
            <c:idx val="13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accent5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DF0-4B58-9489-5AD9097FA8C3}"/>
              </c:ext>
            </c:extLst>
          </c:dPt>
          <c:dPt>
            <c:idx val="14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bg1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DF0-4B58-9489-5AD9097FA8C3}"/>
              </c:ext>
            </c:extLst>
          </c:dPt>
          <c:dPt>
            <c:idx val="15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tx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DF0-4B58-9489-5AD9097FA8C3}"/>
              </c:ext>
            </c:extLst>
          </c:dPt>
          <c:dPt>
            <c:idx val="161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0DF0-4B58-9489-5AD9097FA8C3}"/>
              </c:ext>
            </c:extLst>
          </c:dPt>
          <c:dPt>
            <c:idx val="168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accent3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0DF0-4B58-9489-5AD9097FA8C3}"/>
              </c:ext>
            </c:extLst>
          </c:dPt>
          <c:dPt>
            <c:idx val="182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accent4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0DF0-4B58-9489-5AD9097FA8C3}"/>
              </c:ext>
            </c:extLst>
          </c:dPt>
          <c:dPt>
            <c:idx val="196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accent3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0DF0-4B58-9489-5AD9097FA8C3}"/>
              </c:ext>
            </c:extLst>
          </c:dPt>
          <c:dPt>
            <c:idx val="20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accent2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0DF0-4B58-9489-5AD9097FA8C3}"/>
              </c:ext>
            </c:extLst>
          </c:dPt>
          <c:dPt>
            <c:idx val="21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0DF0-4B58-9489-5AD9097FA8C3}"/>
              </c:ext>
            </c:extLst>
          </c:dPt>
          <c:dPt>
            <c:idx val="217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rgbClr val="00B0F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0DF0-4B58-9489-5AD9097FA8C3}"/>
              </c:ext>
            </c:extLst>
          </c:dPt>
          <c:dPt>
            <c:idx val="231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accent6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0DF0-4B58-9489-5AD9097FA8C3}"/>
              </c:ext>
            </c:extLst>
          </c:dPt>
          <c:dPt>
            <c:idx val="252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accent6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0DF0-4B58-9489-5AD9097FA8C3}"/>
              </c:ext>
            </c:extLst>
          </c:dPt>
          <c:dPt>
            <c:idx val="259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0DF0-4B58-9489-5AD9097FA8C3}"/>
              </c:ext>
            </c:extLst>
          </c:dPt>
          <c:dPt>
            <c:idx val="27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bg1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0DF0-4B58-9489-5AD9097FA8C3}"/>
              </c:ext>
            </c:extLst>
          </c:dPt>
          <c:dPt>
            <c:idx val="29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0DF0-4B58-9489-5AD9097FA8C3}"/>
              </c:ext>
            </c:extLst>
          </c:dPt>
          <c:dPt>
            <c:idx val="301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rgbClr val="7030A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0DF0-4B58-9489-5AD9097FA8C3}"/>
              </c:ext>
            </c:extLst>
          </c:dPt>
          <c:dPt>
            <c:idx val="308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accent5">
                    <a:lumMod val="60000"/>
                    <a:lumOff val="4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7-0DF0-4B58-9489-5AD9097FA8C3}"/>
              </c:ext>
            </c:extLst>
          </c:dPt>
          <c:dPt>
            <c:idx val="35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rgbClr val="FFC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9-0DF0-4B58-9489-5AD9097FA8C3}"/>
              </c:ext>
            </c:extLst>
          </c:dPt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General</c:formatCode>
                <c:ptCount val="365"/>
                <c:pt idx="49">
                  <c:v>8849.6099999999897</c:v>
                </c:pt>
                <c:pt idx="70">
                  <c:v>10205.19999999999</c:v>
                </c:pt>
                <c:pt idx="77">
                  <c:v>9536.6699999999928</c:v>
                </c:pt>
                <c:pt idx="112">
                  <c:v>11025.999999999995</c:v>
                </c:pt>
                <c:pt idx="126">
                  <c:v>12157.659999999987</c:v>
                </c:pt>
                <c:pt idx="133">
                  <c:v>14030.559999999992</c:v>
                </c:pt>
                <c:pt idx="140">
                  <c:v>17136.029999999992</c:v>
                </c:pt>
                <c:pt idx="154">
                  <c:v>14707.149999999994</c:v>
                </c:pt>
                <c:pt idx="161">
                  <c:v>18451.449999999993</c:v>
                </c:pt>
                <c:pt idx="168">
                  <c:v>24682.640000000029</c:v>
                </c:pt>
                <c:pt idx="182">
                  <c:v>29710.340000000026</c:v>
                </c:pt>
                <c:pt idx="196">
                  <c:v>30513.610000000011</c:v>
                </c:pt>
                <c:pt idx="203">
                  <c:v>28476.970000000041</c:v>
                </c:pt>
                <c:pt idx="210">
                  <c:v>18541.569999999989</c:v>
                </c:pt>
                <c:pt idx="217">
                  <c:v>26831.10000000002</c:v>
                </c:pt>
                <c:pt idx="231">
                  <c:v>25916.130000000034</c:v>
                </c:pt>
                <c:pt idx="252">
                  <c:v>24431.850000000042</c:v>
                </c:pt>
                <c:pt idx="259">
                  <c:v>27972.890000000029</c:v>
                </c:pt>
                <c:pt idx="273">
                  <c:v>26065.360000000015</c:v>
                </c:pt>
                <c:pt idx="294">
                  <c:v>20250.670000000013</c:v>
                </c:pt>
                <c:pt idx="301">
                  <c:v>22356.74000000002</c:v>
                </c:pt>
                <c:pt idx="308">
                  <c:v>26004.740000000023</c:v>
                </c:pt>
                <c:pt idx="350">
                  <c:v>28770.4200000000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0DF0-4B58-9489-5AD9097FA8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1047246352"/>
        <c:axId val="-10472425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Revenu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General</c:formatCode>
                <c:ptCount val="365"/>
                <c:pt idx="0">
                  <c:v>9553.9899999999925</c:v>
                </c:pt>
                <c:pt idx="1">
                  <c:v>6558.8999999999951</c:v>
                </c:pt>
                <c:pt idx="2">
                  <c:v>5754.8999999999896</c:v>
                </c:pt>
                <c:pt idx="3">
                  <c:v>4173.0599999999949</c:v>
                </c:pt>
                <c:pt idx="4">
                  <c:v>3007.0099999999984</c:v>
                </c:pt>
                <c:pt idx="5">
                  <c:v>2880.3800000000006</c:v>
                </c:pt>
                <c:pt idx="6">
                  <c:v>5346.3399999999929</c:v>
                </c:pt>
                <c:pt idx="7">
                  <c:v>8343.0099999999911</c:v>
                </c:pt>
                <c:pt idx="8">
                  <c:v>7722.8799999999956</c:v>
                </c:pt>
                <c:pt idx="9">
                  <c:v>4272.5299999999943</c:v>
                </c:pt>
                <c:pt idx="10">
                  <c:v>3459.8899999999958</c:v>
                </c:pt>
                <c:pt idx="11">
                  <c:v>4104.1699999999964</c:v>
                </c:pt>
                <c:pt idx="12">
                  <c:v>4336.0799999999945</c:v>
                </c:pt>
                <c:pt idx="13">
                  <c:v>5489.3499999999949</c:v>
                </c:pt>
                <c:pt idx="14">
                  <c:v>10728.109999999991</c:v>
                </c:pt>
                <c:pt idx="15">
                  <c:v>7610.1099999999942</c:v>
                </c:pt>
                <c:pt idx="16">
                  <c:v>5320.2599999999939</c:v>
                </c:pt>
                <c:pt idx="17">
                  <c:v>5713.9599999999955</c:v>
                </c:pt>
                <c:pt idx="18">
                  <c:v>6855.4999999999936</c:v>
                </c:pt>
                <c:pt idx="19">
                  <c:v>6414.6999999999889</c:v>
                </c:pt>
                <c:pt idx="20">
                  <c:v>5173.2399999999952</c:v>
                </c:pt>
                <c:pt idx="21">
                  <c:v>6166.2699999999959</c:v>
                </c:pt>
                <c:pt idx="22">
                  <c:v>3591.7899999999959</c:v>
                </c:pt>
                <c:pt idx="23">
                  <c:v>4921.1999999999953</c:v>
                </c:pt>
                <c:pt idx="24">
                  <c:v>3603.709999999995</c:v>
                </c:pt>
                <c:pt idx="25">
                  <c:v>3761.1599999999949</c:v>
                </c:pt>
                <c:pt idx="26">
                  <c:v>6132.4999999999936</c:v>
                </c:pt>
                <c:pt idx="27">
                  <c:v>5184.9199999999937</c:v>
                </c:pt>
                <c:pt idx="28">
                  <c:v>8794.1099999999933</c:v>
                </c:pt>
                <c:pt idx="29">
                  <c:v>6126.5299999999897</c:v>
                </c:pt>
                <c:pt idx="30">
                  <c:v>5910.229999999995</c:v>
                </c:pt>
                <c:pt idx="31">
                  <c:v>3572.1199999999953</c:v>
                </c:pt>
                <c:pt idx="32">
                  <c:v>4661.3299999999954</c:v>
                </c:pt>
                <c:pt idx="33">
                  <c:v>3160.0699999999952</c:v>
                </c:pt>
                <c:pt idx="34">
                  <c:v>5331.1099999999924</c:v>
                </c:pt>
                <c:pt idx="35">
                  <c:v>5444.0999999999913</c:v>
                </c:pt>
                <c:pt idx="36">
                  <c:v>6063.9599999999928</c:v>
                </c:pt>
                <c:pt idx="37">
                  <c:v>5061.5499999999929</c:v>
                </c:pt>
                <c:pt idx="38">
                  <c:v>3953.1499999999924</c:v>
                </c:pt>
                <c:pt idx="39">
                  <c:v>3590.4499999999971</c:v>
                </c:pt>
                <c:pt idx="40">
                  <c:v>4427.7499999999964</c:v>
                </c:pt>
                <c:pt idx="41">
                  <c:v>5241.0199999999959</c:v>
                </c:pt>
                <c:pt idx="42">
                  <c:v>6441.4999999999891</c:v>
                </c:pt>
                <c:pt idx="43">
                  <c:v>7238.8799999999901</c:v>
                </c:pt>
                <c:pt idx="44">
                  <c:v>5956.2999999999884</c:v>
                </c:pt>
                <c:pt idx="45">
                  <c:v>5277.6199999999953</c:v>
                </c:pt>
                <c:pt idx="46">
                  <c:v>4914.4899999999961</c:v>
                </c:pt>
                <c:pt idx="47">
                  <c:v>6242.6499999999915</c:v>
                </c:pt>
                <c:pt idx="48">
                  <c:v>6348.7799999999934</c:v>
                </c:pt>
                <c:pt idx="49">
                  <c:v>8849.6099999999897</c:v>
                </c:pt>
                <c:pt idx="50">
                  <c:v>5732.1899999999914</c:v>
                </c:pt>
                <c:pt idx="51">
                  <c:v>4849.9299999999912</c:v>
                </c:pt>
                <c:pt idx="52">
                  <c:v>4273.0399999999927</c:v>
                </c:pt>
                <c:pt idx="53">
                  <c:v>4806.5199999999932</c:v>
                </c:pt>
                <c:pt idx="54">
                  <c:v>6225.7499999999945</c:v>
                </c:pt>
                <c:pt idx="55">
                  <c:v>4705.3399999999947</c:v>
                </c:pt>
                <c:pt idx="56">
                  <c:v>11059.419999999986</c:v>
                </c:pt>
                <c:pt idx="57">
                  <c:v>5583.9399999999923</c:v>
                </c:pt>
                <c:pt idx="58">
                  <c:v>9041.2299999999941</c:v>
                </c:pt>
                <c:pt idx="59">
                  <c:v>6825.769999999995</c:v>
                </c:pt>
                <c:pt idx="60">
                  <c:v>7556.4799999999923</c:v>
                </c:pt>
                <c:pt idx="61">
                  <c:v>7524.2399999999898</c:v>
                </c:pt>
                <c:pt idx="62">
                  <c:v>7461.3099999999922</c:v>
                </c:pt>
                <c:pt idx="63">
                  <c:v>9442.809999999994</c:v>
                </c:pt>
                <c:pt idx="64">
                  <c:v>7187.8999999999905</c:v>
                </c:pt>
                <c:pt idx="65">
                  <c:v>5316.9199999999919</c:v>
                </c:pt>
                <c:pt idx="66">
                  <c:v>4640.2699999999968</c:v>
                </c:pt>
                <c:pt idx="67">
                  <c:v>7149.0199999999923</c:v>
                </c:pt>
                <c:pt idx="68">
                  <c:v>7935.5099999999911</c:v>
                </c:pt>
                <c:pt idx="69">
                  <c:v>8699.7299999999941</c:v>
                </c:pt>
                <c:pt idx="70">
                  <c:v>10205.19999999999</c:v>
                </c:pt>
                <c:pt idx="71">
                  <c:v>7214.0699999999906</c:v>
                </c:pt>
                <c:pt idx="72">
                  <c:v>4225.4599999999955</c:v>
                </c:pt>
                <c:pt idx="73">
                  <c:v>3802.9599999999959</c:v>
                </c:pt>
                <c:pt idx="74">
                  <c:v>4146.5499999999956</c:v>
                </c:pt>
                <c:pt idx="75">
                  <c:v>4958.1799999999967</c:v>
                </c:pt>
                <c:pt idx="76">
                  <c:v>10733.599999999986</c:v>
                </c:pt>
                <c:pt idx="77">
                  <c:v>9536.6699999999928</c:v>
                </c:pt>
                <c:pt idx="78">
                  <c:v>7645.2599999999875</c:v>
                </c:pt>
                <c:pt idx="79">
                  <c:v>5570.799999999992</c:v>
                </c:pt>
                <c:pt idx="80">
                  <c:v>3925.9699999999962</c:v>
                </c:pt>
                <c:pt idx="81">
                  <c:v>8009.5599999999968</c:v>
                </c:pt>
                <c:pt idx="82">
                  <c:v>5886.1599999999944</c:v>
                </c:pt>
                <c:pt idx="83">
                  <c:v>8561.0799999999927</c:v>
                </c:pt>
                <c:pt idx="84">
                  <c:v>9139.9899999999907</c:v>
                </c:pt>
                <c:pt idx="85">
                  <c:v>6949.1899999999914</c:v>
                </c:pt>
                <c:pt idx="86">
                  <c:v>5030.0299999999916</c:v>
                </c:pt>
                <c:pt idx="87">
                  <c:v>4242.5599999999977</c:v>
                </c:pt>
                <c:pt idx="88">
                  <c:v>6939.1199999999899</c:v>
                </c:pt>
                <c:pt idx="89">
                  <c:v>6156.2799999999934</c:v>
                </c:pt>
                <c:pt idx="90">
                  <c:v>7427.9599999999946</c:v>
                </c:pt>
                <c:pt idx="91">
                  <c:v>8939.5099999999929</c:v>
                </c:pt>
                <c:pt idx="92">
                  <c:v>7128.7599999999902</c:v>
                </c:pt>
                <c:pt idx="93">
                  <c:v>7305.799999999992</c:v>
                </c:pt>
                <c:pt idx="94">
                  <c:v>7749.0499999999902</c:v>
                </c:pt>
                <c:pt idx="95">
                  <c:v>6577.5999999999913</c:v>
                </c:pt>
                <c:pt idx="96">
                  <c:v>6661.3199999999906</c:v>
                </c:pt>
                <c:pt idx="97">
                  <c:v>6679.3099999999931</c:v>
                </c:pt>
                <c:pt idx="98">
                  <c:v>10595.819999999994</c:v>
                </c:pt>
                <c:pt idx="99">
                  <c:v>7047.639999999994</c:v>
                </c:pt>
                <c:pt idx="100">
                  <c:v>5613.1099999999933</c:v>
                </c:pt>
                <c:pt idx="101">
                  <c:v>6013.6599999999917</c:v>
                </c:pt>
                <c:pt idx="102">
                  <c:v>6027.1099999999933</c:v>
                </c:pt>
                <c:pt idx="103">
                  <c:v>7572.1099999999915</c:v>
                </c:pt>
                <c:pt idx="104">
                  <c:v>6997.5399999999918</c:v>
                </c:pt>
                <c:pt idx="105">
                  <c:v>10849.769999999988</c:v>
                </c:pt>
                <c:pt idx="106">
                  <c:v>7823.20999999999</c:v>
                </c:pt>
                <c:pt idx="107">
                  <c:v>5461.4299999999921</c:v>
                </c:pt>
                <c:pt idx="108">
                  <c:v>4368.6599999999944</c:v>
                </c:pt>
                <c:pt idx="109">
                  <c:v>5443.7899999999927</c:v>
                </c:pt>
                <c:pt idx="110">
                  <c:v>6162.1599999999953</c:v>
                </c:pt>
                <c:pt idx="111">
                  <c:v>10815.949999999986</c:v>
                </c:pt>
                <c:pt idx="112">
                  <c:v>11025.999999999995</c:v>
                </c:pt>
                <c:pt idx="113">
                  <c:v>6992.5899999999947</c:v>
                </c:pt>
                <c:pt idx="114">
                  <c:v>8896.6499999999942</c:v>
                </c:pt>
                <c:pt idx="115">
                  <c:v>5680.2399999999934</c:v>
                </c:pt>
                <c:pt idx="116">
                  <c:v>8777.3199999999943</c:v>
                </c:pt>
                <c:pt idx="117">
                  <c:v>11511.569999999983</c:v>
                </c:pt>
                <c:pt idx="118">
                  <c:v>9963.9999999999891</c:v>
                </c:pt>
                <c:pt idx="119">
                  <c:v>14548.649999999987</c:v>
                </c:pt>
                <c:pt idx="120">
                  <c:v>11971.739999999989</c:v>
                </c:pt>
                <c:pt idx="121">
                  <c:v>12041.729999999989</c:v>
                </c:pt>
                <c:pt idx="122">
                  <c:v>7616.9599999999919</c:v>
                </c:pt>
                <c:pt idx="123">
                  <c:v>11562.979999999987</c:v>
                </c:pt>
                <c:pt idx="124">
                  <c:v>11288.189999999988</c:v>
                </c:pt>
                <c:pt idx="125">
                  <c:v>12098.429999999984</c:v>
                </c:pt>
                <c:pt idx="126">
                  <c:v>12157.659999999987</c:v>
                </c:pt>
                <c:pt idx="127">
                  <c:v>13970.609999999984</c:v>
                </c:pt>
                <c:pt idx="128">
                  <c:v>11873.209999999986</c:v>
                </c:pt>
                <c:pt idx="129">
                  <c:v>7726.3999999999933</c:v>
                </c:pt>
                <c:pt idx="130">
                  <c:v>9998.1499999999905</c:v>
                </c:pt>
                <c:pt idx="131">
                  <c:v>10927.849999999989</c:v>
                </c:pt>
                <c:pt idx="132">
                  <c:v>9976.049999999992</c:v>
                </c:pt>
                <c:pt idx="133">
                  <c:v>14030.559999999992</c:v>
                </c:pt>
                <c:pt idx="134">
                  <c:v>14878.759999999984</c:v>
                </c:pt>
                <c:pt idx="135">
                  <c:v>9247.5599999999922</c:v>
                </c:pt>
                <c:pt idx="136">
                  <c:v>14479.839999999984</c:v>
                </c:pt>
                <c:pt idx="137">
                  <c:v>11443.449999999988</c:v>
                </c:pt>
                <c:pt idx="138">
                  <c:v>9683.0399999999918</c:v>
                </c:pt>
                <c:pt idx="139">
                  <c:v>11252.949999999992</c:v>
                </c:pt>
                <c:pt idx="140">
                  <c:v>17136.029999999992</c:v>
                </c:pt>
                <c:pt idx="141">
                  <c:v>12829.739999999983</c:v>
                </c:pt>
                <c:pt idx="142">
                  <c:v>9539.5599999999886</c:v>
                </c:pt>
                <c:pt idx="143">
                  <c:v>8074.6999999999889</c:v>
                </c:pt>
                <c:pt idx="144">
                  <c:v>9124.0399999999918</c:v>
                </c:pt>
                <c:pt idx="145">
                  <c:v>7920.8799999999919</c:v>
                </c:pt>
                <c:pt idx="146">
                  <c:v>11071.809999999989</c:v>
                </c:pt>
                <c:pt idx="147">
                  <c:v>16215.109999999988</c:v>
                </c:pt>
                <c:pt idx="148">
                  <c:v>15085.15999999998</c:v>
                </c:pt>
                <c:pt idx="149">
                  <c:v>10344.379999999986</c:v>
                </c:pt>
                <c:pt idx="150">
                  <c:v>12078.339999999984</c:v>
                </c:pt>
                <c:pt idx="151">
                  <c:v>13787.749999999989</c:v>
                </c:pt>
                <c:pt idx="152">
                  <c:v>13043.50999999998</c:v>
                </c:pt>
                <c:pt idx="153">
                  <c:v>15269.319999999989</c:v>
                </c:pt>
                <c:pt idx="154">
                  <c:v>14707.149999999994</c:v>
                </c:pt>
                <c:pt idx="155">
                  <c:v>12823.43999999999</c:v>
                </c:pt>
                <c:pt idx="156">
                  <c:v>12296.259999999982</c:v>
                </c:pt>
                <c:pt idx="157">
                  <c:v>8532.3499999999913</c:v>
                </c:pt>
                <c:pt idx="158">
                  <c:v>15376.109999999984</c:v>
                </c:pt>
                <c:pt idx="159">
                  <c:v>11615.479999999983</c:v>
                </c:pt>
                <c:pt idx="160">
                  <c:v>11510.449999999983</c:v>
                </c:pt>
                <c:pt idx="161">
                  <c:v>18451.449999999993</c:v>
                </c:pt>
                <c:pt idx="162">
                  <c:v>11052.539999999981</c:v>
                </c:pt>
                <c:pt idx="163">
                  <c:v>8579.5399999999881</c:v>
                </c:pt>
                <c:pt idx="164">
                  <c:v>10632.889999999983</c:v>
                </c:pt>
                <c:pt idx="165">
                  <c:v>15741.639999999985</c:v>
                </c:pt>
                <c:pt idx="166">
                  <c:v>30816.510000000017</c:v>
                </c:pt>
                <c:pt idx="167">
                  <c:v>25301.340000000018</c:v>
                </c:pt>
                <c:pt idx="168">
                  <c:v>24682.640000000029</c:v>
                </c:pt>
                <c:pt idx="169">
                  <c:v>22510.200000000012</c:v>
                </c:pt>
                <c:pt idx="170">
                  <c:v>19743.220000000008</c:v>
                </c:pt>
                <c:pt idx="171">
                  <c:v>13725.699999999981</c:v>
                </c:pt>
                <c:pt idx="172">
                  <c:v>12943.01999999997</c:v>
                </c:pt>
                <c:pt idx="173">
                  <c:v>15952.189999999991</c:v>
                </c:pt>
                <c:pt idx="174">
                  <c:v>18648.799999999996</c:v>
                </c:pt>
                <c:pt idx="175">
                  <c:v>20721.190000000017</c:v>
                </c:pt>
                <c:pt idx="176">
                  <c:v>13892.819999999991</c:v>
                </c:pt>
                <c:pt idx="177">
                  <c:v>16570.159999999985</c:v>
                </c:pt>
                <c:pt idx="178">
                  <c:v>15224.509999999986</c:v>
                </c:pt>
                <c:pt idx="179">
                  <c:v>18051.609999999997</c:v>
                </c:pt>
                <c:pt idx="180">
                  <c:v>17641.539999999997</c:v>
                </c:pt>
                <c:pt idx="181">
                  <c:v>25451.570000000011</c:v>
                </c:pt>
                <c:pt idx="182">
                  <c:v>29710.340000000026</c:v>
                </c:pt>
                <c:pt idx="183">
                  <c:v>22539.750000000011</c:v>
                </c:pt>
                <c:pt idx="184">
                  <c:v>18018.349999999988</c:v>
                </c:pt>
                <c:pt idx="185">
                  <c:v>21809.510000000024</c:v>
                </c:pt>
                <c:pt idx="186">
                  <c:v>14724.849999999984</c:v>
                </c:pt>
                <c:pt idx="187">
                  <c:v>14349.189999999995</c:v>
                </c:pt>
                <c:pt idx="188">
                  <c:v>15468.109999999981</c:v>
                </c:pt>
                <c:pt idx="189">
                  <c:v>25498.76000000002</c:v>
                </c:pt>
                <c:pt idx="190">
                  <c:v>21500.80000000001</c:v>
                </c:pt>
                <c:pt idx="191">
                  <c:v>19141.400000000001</c:v>
                </c:pt>
                <c:pt idx="192">
                  <c:v>14693.769999999977</c:v>
                </c:pt>
                <c:pt idx="193">
                  <c:v>15824.469999999981</c:v>
                </c:pt>
                <c:pt idx="194">
                  <c:v>23377.040000000012</c:v>
                </c:pt>
                <c:pt idx="195">
                  <c:v>20800.230000000007</c:v>
                </c:pt>
                <c:pt idx="196">
                  <c:v>30513.610000000011</c:v>
                </c:pt>
                <c:pt idx="197">
                  <c:v>23393.600000000017</c:v>
                </c:pt>
                <c:pt idx="198">
                  <c:v>20784.440000000006</c:v>
                </c:pt>
                <c:pt idx="199">
                  <c:v>16972.799999999985</c:v>
                </c:pt>
                <c:pt idx="200">
                  <c:v>22689.940000000021</c:v>
                </c:pt>
                <c:pt idx="201">
                  <c:v>20293.120000000014</c:v>
                </c:pt>
                <c:pt idx="202">
                  <c:v>21950.720000000012</c:v>
                </c:pt>
                <c:pt idx="203">
                  <c:v>28476.970000000041</c:v>
                </c:pt>
                <c:pt idx="204">
                  <c:v>18025.629999999986</c:v>
                </c:pt>
                <c:pt idx="205">
                  <c:v>12505.109999999984</c:v>
                </c:pt>
                <c:pt idx="206">
                  <c:v>16287.729999999987</c:v>
                </c:pt>
                <c:pt idx="207">
                  <c:v>15387.749999999991</c:v>
                </c:pt>
                <c:pt idx="208">
                  <c:v>19158.840000000011</c:v>
                </c:pt>
                <c:pt idx="209">
                  <c:v>22322.280000000028</c:v>
                </c:pt>
                <c:pt idx="210">
                  <c:v>18541.569999999989</c:v>
                </c:pt>
                <c:pt idx="211">
                  <c:v>16218.049999999981</c:v>
                </c:pt>
                <c:pt idx="212">
                  <c:v>16207.359999999988</c:v>
                </c:pt>
                <c:pt idx="213">
                  <c:v>13352.119999999984</c:v>
                </c:pt>
                <c:pt idx="214">
                  <c:v>15703.029999999979</c:v>
                </c:pt>
                <c:pt idx="215">
                  <c:v>18854.239999999983</c:v>
                </c:pt>
                <c:pt idx="216">
                  <c:v>18342.989999999994</c:v>
                </c:pt>
                <c:pt idx="217">
                  <c:v>26831.10000000002</c:v>
                </c:pt>
                <c:pt idx="218">
                  <c:v>19503.749999999989</c:v>
                </c:pt>
                <c:pt idx="219">
                  <c:v>14976.549999999977</c:v>
                </c:pt>
                <c:pt idx="220">
                  <c:v>13064.679999999978</c:v>
                </c:pt>
                <c:pt idx="221">
                  <c:v>19057.860000000004</c:v>
                </c:pt>
                <c:pt idx="222">
                  <c:v>23385.610000000015</c:v>
                </c:pt>
                <c:pt idx="223">
                  <c:v>24295.070000000029</c:v>
                </c:pt>
                <c:pt idx="224">
                  <c:v>21235.470000000016</c:v>
                </c:pt>
                <c:pt idx="225">
                  <c:v>19302.589999999989</c:v>
                </c:pt>
                <c:pt idx="226">
                  <c:v>16186.01999999999</c:v>
                </c:pt>
                <c:pt idx="227">
                  <c:v>16536.409999999989</c:v>
                </c:pt>
                <c:pt idx="228">
                  <c:v>17445.939999999988</c:v>
                </c:pt>
                <c:pt idx="229">
                  <c:v>18487.339999999997</c:v>
                </c:pt>
                <c:pt idx="230">
                  <c:v>19963.250000000025</c:v>
                </c:pt>
                <c:pt idx="231">
                  <c:v>25916.130000000034</c:v>
                </c:pt>
                <c:pt idx="232">
                  <c:v>17618.899999999994</c:v>
                </c:pt>
                <c:pt idx="233">
                  <c:v>17006.059999999983</c:v>
                </c:pt>
                <c:pt idx="234">
                  <c:v>15136.199999999975</c:v>
                </c:pt>
                <c:pt idx="235">
                  <c:v>17966.30999999999</c:v>
                </c:pt>
                <c:pt idx="236">
                  <c:v>16495.789999999979</c:v>
                </c:pt>
                <c:pt idx="237">
                  <c:v>19567.490000000013</c:v>
                </c:pt>
                <c:pt idx="238">
                  <c:v>24751.590000000015</c:v>
                </c:pt>
                <c:pt idx="239">
                  <c:v>19246.57</c:v>
                </c:pt>
                <c:pt idx="240">
                  <c:v>17092.169999999991</c:v>
                </c:pt>
                <c:pt idx="241">
                  <c:v>15091.969999999981</c:v>
                </c:pt>
                <c:pt idx="242">
                  <c:v>20334.770000000022</c:v>
                </c:pt>
                <c:pt idx="243">
                  <c:v>20646.110000000011</c:v>
                </c:pt>
                <c:pt idx="244">
                  <c:v>22282.660000000047</c:v>
                </c:pt>
                <c:pt idx="245">
                  <c:v>26604.730000000036</c:v>
                </c:pt>
                <c:pt idx="246">
                  <c:v>17848.709999999988</c:v>
                </c:pt>
                <c:pt idx="247">
                  <c:v>14695.839999999986</c:v>
                </c:pt>
                <c:pt idx="248">
                  <c:v>18310.089999999997</c:v>
                </c:pt>
                <c:pt idx="249">
                  <c:v>17174.019999999979</c:v>
                </c:pt>
                <c:pt idx="250">
                  <c:v>17255.899999999994</c:v>
                </c:pt>
                <c:pt idx="251">
                  <c:v>20511.210000000014</c:v>
                </c:pt>
                <c:pt idx="252">
                  <c:v>24431.850000000042</c:v>
                </c:pt>
                <c:pt idx="253">
                  <c:v>22149.930000000018</c:v>
                </c:pt>
                <c:pt idx="254">
                  <c:v>22064.970000000016</c:v>
                </c:pt>
                <c:pt idx="255">
                  <c:v>21948.140000000029</c:v>
                </c:pt>
                <c:pt idx="256">
                  <c:v>22564.160000000014</c:v>
                </c:pt>
                <c:pt idx="257">
                  <c:v>21483.510000000028</c:v>
                </c:pt>
                <c:pt idx="258">
                  <c:v>21666.980000000014</c:v>
                </c:pt>
                <c:pt idx="259">
                  <c:v>27972.890000000029</c:v>
                </c:pt>
                <c:pt idx="260">
                  <c:v>21367.580000000027</c:v>
                </c:pt>
                <c:pt idx="261">
                  <c:v>19303.669999999995</c:v>
                </c:pt>
                <c:pt idx="262">
                  <c:v>18706.049999999988</c:v>
                </c:pt>
                <c:pt idx="263">
                  <c:v>21513.000000000036</c:v>
                </c:pt>
                <c:pt idx="264">
                  <c:v>19807.180000000004</c:v>
                </c:pt>
                <c:pt idx="265">
                  <c:v>23613.530000000021</c:v>
                </c:pt>
                <c:pt idx="266">
                  <c:v>33043.950000000033</c:v>
                </c:pt>
                <c:pt idx="267">
                  <c:v>23619.360000000019</c:v>
                </c:pt>
                <c:pt idx="268">
                  <c:v>21071.880000000016</c:v>
                </c:pt>
                <c:pt idx="269">
                  <c:v>21298.960000000014</c:v>
                </c:pt>
                <c:pt idx="270">
                  <c:v>23784.800000000025</c:v>
                </c:pt>
                <c:pt idx="271">
                  <c:v>18618.250000000007</c:v>
                </c:pt>
                <c:pt idx="272">
                  <c:v>26046.710000000028</c:v>
                </c:pt>
                <c:pt idx="273">
                  <c:v>26065.360000000015</c:v>
                </c:pt>
                <c:pt idx="274">
                  <c:v>27451.470000000038</c:v>
                </c:pt>
                <c:pt idx="275">
                  <c:v>20725.87000000001</c:v>
                </c:pt>
                <c:pt idx="276">
                  <c:v>22404.760000000031</c:v>
                </c:pt>
                <c:pt idx="277">
                  <c:v>21278.35000000002</c:v>
                </c:pt>
                <c:pt idx="278">
                  <c:v>23306.640000000021</c:v>
                </c:pt>
                <c:pt idx="279">
                  <c:v>24681.40000000002</c:v>
                </c:pt>
                <c:pt idx="280">
                  <c:v>24393.450000000033</c:v>
                </c:pt>
                <c:pt idx="281">
                  <c:v>20234.260000000009</c:v>
                </c:pt>
                <c:pt idx="282">
                  <c:v>20213.310000000023</c:v>
                </c:pt>
                <c:pt idx="283">
                  <c:v>18677.739999999983</c:v>
                </c:pt>
                <c:pt idx="284">
                  <c:v>19163.720000000012</c:v>
                </c:pt>
                <c:pt idx="285">
                  <c:v>18602.759999999995</c:v>
                </c:pt>
                <c:pt idx="286">
                  <c:v>20699.050000000021</c:v>
                </c:pt>
                <c:pt idx="287">
                  <c:v>32820.28000000005</c:v>
                </c:pt>
                <c:pt idx="288">
                  <c:v>23392.790000000012</c:v>
                </c:pt>
                <c:pt idx="289">
                  <c:v>20404.270000000033</c:v>
                </c:pt>
                <c:pt idx="290">
                  <c:v>18973.450000000008</c:v>
                </c:pt>
                <c:pt idx="291">
                  <c:v>23156.780000000053</c:v>
                </c:pt>
                <c:pt idx="292">
                  <c:v>16434.249999999975</c:v>
                </c:pt>
                <c:pt idx="293">
                  <c:v>20984.74000000002</c:v>
                </c:pt>
                <c:pt idx="294">
                  <c:v>20250.670000000013</c:v>
                </c:pt>
                <c:pt idx="295">
                  <c:v>23857.890000000036</c:v>
                </c:pt>
                <c:pt idx="296">
                  <c:v>18869.239999999987</c:v>
                </c:pt>
                <c:pt idx="297">
                  <c:v>16469.839999999989</c:v>
                </c:pt>
                <c:pt idx="298">
                  <c:v>16754.54999999997</c:v>
                </c:pt>
                <c:pt idx="299">
                  <c:v>15074.559999999974</c:v>
                </c:pt>
                <c:pt idx="300">
                  <c:v>19277.339999999997</c:v>
                </c:pt>
                <c:pt idx="301">
                  <c:v>22356.74000000002</c:v>
                </c:pt>
                <c:pt idx="302">
                  <c:v>22083.070000000022</c:v>
                </c:pt>
                <c:pt idx="303">
                  <c:v>18770.050000000007</c:v>
                </c:pt>
                <c:pt idx="304">
                  <c:v>19046.910000000011</c:v>
                </c:pt>
                <c:pt idx="305">
                  <c:v>23670.529999999992</c:v>
                </c:pt>
                <c:pt idx="306">
                  <c:v>21430.930000000015</c:v>
                </c:pt>
                <c:pt idx="307">
                  <c:v>20843.990000000016</c:v>
                </c:pt>
                <c:pt idx="308">
                  <c:v>26004.740000000023</c:v>
                </c:pt>
                <c:pt idx="309">
                  <c:v>23312.130000000026</c:v>
                </c:pt>
                <c:pt idx="310">
                  <c:v>20079.830000000009</c:v>
                </c:pt>
                <c:pt idx="311">
                  <c:v>20362.560000000023</c:v>
                </c:pt>
                <c:pt idx="312">
                  <c:v>17723.35999999999</c:v>
                </c:pt>
                <c:pt idx="313">
                  <c:v>15622.499999999975</c:v>
                </c:pt>
                <c:pt idx="314">
                  <c:v>21139.770000000019</c:v>
                </c:pt>
                <c:pt idx="315">
                  <c:v>27717.830000000031</c:v>
                </c:pt>
                <c:pt idx="316">
                  <c:v>18406.399999999991</c:v>
                </c:pt>
                <c:pt idx="317">
                  <c:v>16092.339999999971</c:v>
                </c:pt>
                <c:pt idx="318">
                  <c:v>17337.649999999983</c:v>
                </c:pt>
                <c:pt idx="319">
                  <c:v>20213.450000000019</c:v>
                </c:pt>
                <c:pt idx="320">
                  <c:v>20013.860000000022</c:v>
                </c:pt>
                <c:pt idx="321">
                  <c:v>21275.780000000013</c:v>
                </c:pt>
                <c:pt idx="322">
                  <c:v>24354.150000000016</c:v>
                </c:pt>
                <c:pt idx="323">
                  <c:v>25860.850000000017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0000000027</c:v>
                </c:pt>
                <c:pt idx="327">
                  <c:v>20972.440000000017</c:v>
                </c:pt>
                <c:pt idx="328">
                  <c:v>22306.850000000035</c:v>
                </c:pt>
                <c:pt idx="329">
                  <c:v>25349.02000000003</c:v>
                </c:pt>
                <c:pt idx="330">
                  <c:v>22696.12</c:v>
                </c:pt>
                <c:pt idx="331">
                  <c:v>15978.08999999998</c:v>
                </c:pt>
                <c:pt idx="332">
                  <c:v>17436.459999999988</c:v>
                </c:pt>
                <c:pt idx="333">
                  <c:v>16321.839999999975</c:v>
                </c:pt>
                <c:pt idx="334">
                  <c:v>20305.000000000022</c:v>
                </c:pt>
                <c:pt idx="335">
                  <c:v>25578.170000000038</c:v>
                </c:pt>
                <c:pt idx="336">
                  <c:v>29145.130000000034</c:v>
                </c:pt>
                <c:pt idx="337">
                  <c:v>27869.580000000031</c:v>
                </c:pt>
                <c:pt idx="338">
                  <c:v>24449.550000000021</c:v>
                </c:pt>
                <c:pt idx="339">
                  <c:v>17599.579999999976</c:v>
                </c:pt>
                <c:pt idx="340">
                  <c:v>18018.459999999974</c:v>
                </c:pt>
                <c:pt idx="341">
                  <c:v>17586.68</c:v>
                </c:pt>
                <c:pt idx="342">
                  <c:v>23905.110000000041</c:v>
                </c:pt>
                <c:pt idx="343">
                  <c:v>24258.470000000038</c:v>
                </c:pt>
                <c:pt idx="344">
                  <c:v>25037.270000000026</c:v>
                </c:pt>
                <c:pt idx="345">
                  <c:v>20716.810000000005</c:v>
                </c:pt>
                <c:pt idx="346">
                  <c:v>16930.369999999984</c:v>
                </c:pt>
                <c:pt idx="347">
                  <c:v>17308.779999999977</c:v>
                </c:pt>
                <c:pt idx="348">
                  <c:v>20118.870000000021</c:v>
                </c:pt>
                <c:pt idx="349">
                  <c:v>24932.310000000019</c:v>
                </c:pt>
                <c:pt idx="350">
                  <c:v>28770.420000000042</c:v>
                </c:pt>
                <c:pt idx="351">
                  <c:v>25351.010000000006</c:v>
                </c:pt>
                <c:pt idx="352">
                  <c:v>20215.960000000036</c:v>
                </c:pt>
                <c:pt idx="353">
                  <c:v>17363.349999999988</c:v>
                </c:pt>
                <c:pt idx="354">
                  <c:v>19548.540000000005</c:v>
                </c:pt>
                <c:pt idx="355">
                  <c:v>17682.329999999994</c:v>
                </c:pt>
                <c:pt idx="356">
                  <c:v>18745.330000000005</c:v>
                </c:pt>
                <c:pt idx="357">
                  <c:v>29639.220000000041</c:v>
                </c:pt>
                <c:pt idx="358">
                  <c:v>25426.93000000004</c:v>
                </c:pt>
                <c:pt idx="359">
                  <c:v>20853.220000000012</c:v>
                </c:pt>
                <c:pt idx="360">
                  <c:v>18639.729999999985</c:v>
                </c:pt>
                <c:pt idx="361">
                  <c:v>19712.140000000021</c:v>
                </c:pt>
                <c:pt idx="362">
                  <c:v>17940.459999999988</c:v>
                </c:pt>
                <c:pt idx="363">
                  <c:v>20797.710000000006</c:v>
                </c:pt>
                <c:pt idx="364">
                  <c:v>27055.760000000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B-0DF0-4B58-9489-5AD9097FA8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047246352"/>
        <c:axId val="-1047242544"/>
      </c:lineChart>
      <c:dateAx>
        <c:axId val="-1047246352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0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047242544"/>
        <c:crosses val="autoZero"/>
        <c:auto val="1"/>
        <c:lblOffset val="100"/>
        <c:baseTimeUnit val="days"/>
        <c:minorUnit val="10"/>
      </c:dateAx>
      <c:valAx>
        <c:axId val="-104724254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 dirty="0"/>
                  <a:t>Revenue (in USD)</a:t>
                </a:r>
                <a:endParaRPr lang="en-IN" b="1" dirty="0"/>
              </a:p>
            </c:rich>
          </c:tx>
          <c:layout>
            <c:manualLayout>
              <c:xMode val="edge"/>
              <c:yMode val="edge"/>
              <c:x val="1.0941702884911537E-2"/>
              <c:y val="0.1649910918497160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0" spcFirstLastPara="1" vertOverflow="ellipsis" wrap="square" anchor="b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04724635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ja-JP"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dirty="0">
                <a:effectLst/>
              </a:rPr>
              <a:t>Revenue</a:t>
            </a:r>
            <a:r>
              <a:rPr lang="en-GB" baseline="0" dirty="0">
                <a:effectLst/>
              </a:rPr>
              <a:t> (USD)</a:t>
            </a:r>
            <a:endParaRPr lang="en-IN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870903043191781"/>
          <c:y val="0.12713910761154856"/>
          <c:w val="0.82326724843012999"/>
          <c:h val="0.6305786978240621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US Elections - Google Trend </c:v>
                </c:pt>
              </c:strCache>
            </c:strRef>
          </c:tx>
          <c:spPr>
            <a:solidFill>
              <a:schemeClr val="accent6"/>
            </a:solidFill>
            <a:ln cmpd="sng">
              <a:solidFill>
                <a:schemeClr val="accent6"/>
              </a:solidFill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_(* #,##0_);_(* \(#,##0\);_(* "-"??_);_(@_)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 formatCode="General">
                  <c:v>0</c:v>
                </c:pt>
                <c:pt idx="153" formatCode="General">
                  <c:v>0</c:v>
                </c:pt>
                <c:pt idx="154" formatCode="General">
                  <c:v>0</c:v>
                </c:pt>
                <c:pt idx="155" formatCode="General">
                  <c:v>0</c:v>
                </c:pt>
                <c:pt idx="156" formatCode="General">
                  <c:v>0</c:v>
                </c:pt>
                <c:pt idx="157" formatCode="General">
                  <c:v>0</c:v>
                </c:pt>
                <c:pt idx="158" formatCode="General">
                  <c:v>1</c:v>
                </c:pt>
                <c:pt idx="159" formatCode="General">
                  <c:v>0</c:v>
                </c:pt>
                <c:pt idx="160" formatCode="General">
                  <c:v>0</c:v>
                </c:pt>
                <c:pt idx="161" formatCode="General">
                  <c:v>0</c:v>
                </c:pt>
                <c:pt idx="162" formatCode="General">
                  <c:v>0</c:v>
                </c:pt>
                <c:pt idx="163" formatCode="General">
                  <c:v>1</c:v>
                </c:pt>
                <c:pt idx="164" formatCode="General">
                  <c:v>0</c:v>
                </c:pt>
                <c:pt idx="165" formatCode="General">
                  <c:v>0</c:v>
                </c:pt>
                <c:pt idx="166" formatCode="General">
                  <c:v>0</c:v>
                </c:pt>
                <c:pt idx="167" formatCode="General">
                  <c:v>0</c:v>
                </c:pt>
                <c:pt idx="168" formatCode="General">
                  <c:v>0</c:v>
                </c:pt>
                <c:pt idx="169" formatCode="General">
                  <c:v>0</c:v>
                </c:pt>
                <c:pt idx="170" formatCode="General">
                  <c:v>0</c:v>
                </c:pt>
                <c:pt idx="171" formatCode="General">
                  <c:v>0</c:v>
                </c:pt>
                <c:pt idx="172" formatCode="General">
                  <c:v>0</c:v>
                </c:pt>
                <c:pt idx="173" formatCode="General">
                  <c:v>0</c:v>
                </c:pt>
                <c:pt idx="174" formatCode="General">
                  <c:v>0</c:v>
                </c:pt>
                <c:pt idx="175" formatCode="General">
                  <c:v>1</c:v>
                </c:pt>
                <c:pt idx="176" formatCode="General">
                  <c:v>1</c:v>
                </c:pt>
                <c:pt idx="177" formatCode="General">
                  <c:v>0</c:v>
                </c:pt>
                <c:pt idx="178" formatCode="General">
                  <c:v>1</c:v>
                </c:pt>
                <c:pt idx="179" formatCode="General">
                  <c:v>0</c:v>
                </c:pt>
                <c:pt idx="180" formatCode="General">
                  <c:v>1</c:v>
                </c:pt>
                <c:pt idx="181" formatCode="General">
                  <c:v>0</c:v>
                </c:pt>
                <c:pt idx="182" formatCode="General">
                  <c:v>1</c:v>
                </c:pt>
                <c:pt idx="183" formatCode="General">
                  <c:v>0</c:v>
                </c:pt>
                <c:pt idx="184" formatCode="General">
                  <c:v>0</c:v>
                </c:pt>
                <c:pt idx="185" formatCode="General">
                  <c:v>0</c:v>
                </c:pt>
                <c:pt idx="186" formatCode="General">
                  <c:v>0</c:v>
                </c:pt>
                <c:pt idx="187" formatCode="General">
                  <c:v>0</c:v>
                </c:pt>
                <c:pt idx="188" formatCode="General">
                  <c:v>0</c:v>
                </c:pt>
                <c:pt idx="189" formatCode="General">
                  <c:v>0</c:v>
                </c:pt>
                <c:pt idx="190" formatCode="General">
                  <c:v>0</c:v>
                </c:pt>
                <c:pt idx="191" formatCode="General">
                  <c:v>0</c:v>
                </c:pt>
                <c:pt idx="192" formatCode="General">
                  <c:v>0</c:v>
                </c:pt>
                <c:pt idx="193" formatCode="General">
                  <c:v>0</c:v>
                </c:pt>
                <c:pt idx="194" formatCode="General">
                  <c:v>0</c:v>
                </c:pt>
                <c:pt idx="195" formatCode="General">
                  <c:v>0</c:v>
                </c:pt>
                <c:pt idx="196" formatCode="General">
                  <c:v>0</c:v>
                </c:pt>
                <c:pt idx="197" formatCode="General">
                  <c:v>0</c:v>
                </c:pt>
                <c:pt idx="198" formatCode="General">
                  <c:v>0</c:v>
                </c:pt>
                <c:pt idx="199" formatCode="General">
                  <c:v>0</c:v>
                </c:pt>
                <c:pt idx="200" formatCode="General">
                  <c:v>0</c:v>
                </c:pt>
                <c:pt idx="201" formatCode="General">
                  <c:v>0</c:v>
                </c:pt>
                <c:pt idx="202" formatCode="General">
                  <c:v>1</c:v>
                </c:pt>
                <c:pt idx="203" formatCode="General">
                  <c:v>2</c:v>
                </c:pt>
                <c:pt idx="204" formatCode="General">
                  <c:v>0</c:v>
                </c:pt>
                <c:pt idx="205" formatCode="General">
                  <c:v>0</c:v>
                </c:pt>
                <c:pt idx="206" formatCode="General">
                  <c:v>0</c:v>
                </c:pt>
                <c:pt idx="207" formatCode="General">
                  <c:v>0</c:v>
                </c:pt>
                <c:pt idx="208" formatCode="General">
                  <c:v>0</c:v>
                </c:pt>
                <c:pt idx="209" formatCode="General">
                  <c:v>1</c:v>
                </c:pt>
                <c:pt idx="210" formatCode="General">
                  <c:v>0</c:v>
                </c:pt>
                <c:pt idx="211" formatCode="General">
                  <c:v>0</c:v>
                </c:pt>
                <c:pt idx="212" formatCode="General">
                  <c:v>0</c:v>
                </c:pt>
                <c:pt idx="213" formatCode="General">
                  <c:v>1</c:v>
                </c:pt>
                <c:pt idx="214" formatCode="General">
                  <c:v>1</c:v>
                </c:pt>
                <c:pt idx="215" formatCode="General">
                  <c:v>1</c:v>
                </c:pt>
                <c:pt idx="216" formatCode="General">
                  <c:v>0</c:v>
                </c:pt>
                <c:pt idx="217" formatCode="General">
                  <c:v>1</c:v>
                </c:pt>
                <c:pt idx="218" formatCode="General">
                  <c:v>0</c:v>
                </c:pt>
                <c:pt idx="219" formatCode="General">
                  <c:v>1</c:v>
                </c:pt>
                <c:pt idx="220" formatCode="General">
                  <c:v>0</c:v>
                </c:pt>
                <c:pt idx="221" formatCode="General">
                  <c:v>1</c:v>
                </c:pt>
                <c:pt idx="222" formatCode="General">
                  <c:v>0</c:v>
                </c:pt>
                <c:pt idx="223" formatCode="General">
                  <c:v>1</c:v>
                </c:pt>
                <c:pt idx="224" formatCode="General">
                  <c:v>0</c:v>
                </c:pt>
                <c:pt idx="225" formatCode="General">
                  <c:v>1</c:v>
                </c:pt>
                <c:pt idx="226" formatCode="General">
                  <c:v>0</c:v>
                </c:pt>
                <c:pt idx="227" formatCode="General">
                  <c:v>0</c:v>
                </c:pt>
                <c:pt idx="228" formatCode="General">
                  <c:v>1</c:v>
                </c:pt>
                <c:pt idx="229" formatCode="General">
                  <c:v>1</c:v>
                </c:pt>
                <c:pt idx="230" formatCode="General">
                  <c:v>1</c:v>
                </c:pt>
                <c:pt idx="231" formatCode="General">
                  <c:v>0</c:v>
                </c:pt>
                <c:pt idx="232" formatCode="General">
                  <c:v>0</c:v>
                </c:pt>
                <c:pt idx="233" formatCode="General">
                  <c:v>2</c:v>
                </c:pt>
                <c:pt idx="234" formatCode="General">
                  <c:v>1</c:v>
                </c:pt>
                <c:pt idx="235" formatCode="General">
                  <c:v>0</c:v>
                </c:pt>
                <c:pt idx="236" formatCode="General">
                  <c:v>0</c:v>
                </c:pt>
                <c:pt idx="237" formatCode="General">
                  <c:v>0</c:v>
                </c:pt>
                <c:pt idx="238" formatCode="General">
                  <c:v>0</c:v>
                </c:pt>
                <c:pt idx="239" formatCode="General">
                  <c:v>0</c:v>
                </c:pt>
                <c:pt idx="240" formatCode="General">
                  <c:v>1</c:v>
                </c:pt>
                <c:pt idx="241" formatCode="General">
                  <c:v>0</c:v>
                </c:pt>
                <c:pt idx="242" formatCode="General">
                  <c:v>0</c:v>
                </c:pt>
                <c:pt idx="243" formatCode="General">
                  <c:v>0</c:v>
                </c:pt>
                <c:pt idx="244" formatCode="General">
                  <c:v>0</c:v>
                </c:pt>
                <c:pt idx="245" formatCode="General">
                  <c:v>0</c:v>
                </c:pt>
                <c:pt idx="246" formatCode="General">
                  <c:v>1</c:v>
                </c:pt>
                <c:pt idx="247" formatCode="General">
                  <c:v>1</c:v>
                </c:pt>
                <c:pt idx="248" formatCode="General">
                  <c:v>1</c:v>
                </c:pt>
                <c:pt idx="249" formatCode="General">
                  <c:v>1</c:v>
                </c:pt>
                <c:pt idx="250" formatCode="General">
                  <c:v>0</c:v>
                </c:pt>
                <c:pt idx="251" formatCode="General">
                  <c:v>0</c:v>
                </c:pt>
                <c:pt idx="252" formatCode="General">
                  <c:v>1</c:v>
                </c:pt>
                <c:pt idx="253" formatCode="General">
                  <c:v>0</c:v>
                </c:pt>
                <c:pt idx="254" formatCode="General">
                  <c:v>0</c:v>
                </c:pt>
                <c:pt idx="255" formatCode="General">
                  <c:v>1</c:v>
                </c:pt>
                <c:pt idx="256" formatCode="General">
                  <c:v>0</c:v>
                </c:pt>
                <c:pt idx="257" formatCode="General">
                  <c:v>1</c:v>
                </c:pt>
                <c:pt idx="258" formatCode="General">
                  <c:v>2</c:v>
                </c:pt>
                <c:pt idx="259" formatCode="General">
                  <c:v>0</c:v>
                </c:pt>
                <c:pt idx="260" formatCode="General">
                  <c:v>0</c:v>
                </c:pt>
                <c:pt idx="261" formatCode="General">
                  <c:v>0</c:v>
                </c:pt>
                <c:pt idx="262" formatCode="General">
                  <c:v>0</c:v>
                </c:pt>
                <c:pt idx="263" formatCode="General">
                  <c:v>0</c:v>
                </c:pt>
                <c:pt idx="264" formatCode="General">
                  <c:v>0</c:v>
                </c:pt>
                <c:pt idx="265" formatCode="General">
                  <c:v>1</c:v>
                </c:pt>
                <c:pt idx="266" formatCode="General">
                  <c:v>0</c:v>
                </c:pt>
                <c:pt idx="267" formatCode="General">
                  <c:v>0</c:v>
                </c:pt>
                <c:pt idx="268" formatCode="General">
                  <c:v>0</c:v>
                </c:pt>
                <c:pt idx="269" formatCode="General">
                  <c:v>0</c:v>
                </c:pt>
                <c:pt idx="270" formatCode="General">
                  <c:v>0</c:v>
                </c:pt>
                <c:pt idx="271" formatCode="General">
                  <c:v>1</c:v>
                </c:pt>
                <c:pt idx="272" formatCode="General">
                  <c:v>1</c:v>
                </c:pt>
                <c:pt idx="273" formatCode="General">
                  <c:v>0</c:v>
                </c:pt>
                <c:pt idx="274" formatCode="General">
                  <c:v>0</c:v>
                </c:pt>
                <c:pt idx="275" formatCode="General">
                  <c:v>0</c:v>
                </c:pt>
                <c:pt idx="276" formatCode="General">
                  <c:v>0</c:v>
                </c:pt>
                <c:pt idx="277" formatCode="General">
                  <c:v>0</c:v>
                </c:pt>
                <c:pt idx="278" formatCode="General">
                  <c:v>1</c:v>
                </c:pt>
                <c:pt idx="279" formatCode="General">
                  <c:v>1</c:v>
                </c:pt>
                <c:pt idx="280" formatCode="General">
                  <c:v>2</c:v>
                </c:pt>
                <c:pt idx="281" formatCode="General">
                  <c:v>1</c:v>
                </c:pt>
                <c:pt idx="282" formatCode="General">
                  <c:v>0</c:v>
                </c:pt>
                <c:pt idx="283" formatCode="General">
                  <c:v>0</c:v>
                </c:pt>
                <c:pt idx="284" formatCode="General">
                  <c:v>1</c:v>
                </c:pt>
                <c:pt idx="285" formatCode="General">
                  <c:v>3</c:v>
                </c:pt>
                <c:pt idx="286" formatCode="General">
                  <c:v>1</c:v>
                </c:pt>
                <c:pt idx="287" formatCode="General">
                  <c:v>0</c:v>
                </c:pt>
                <c:pt idx="288" formatCode="General">
                  <c:v>1</c:v>
                </c:pt>
                <c:pt idx="289" formatCode="General">
                  <c:v>0</c:v>
                </c:pt>
                <c:pt idx="290" formatCode="General">
                  <c:v>0</c:v>
                </c:pt>
                <c:pt idx="291" formatCode="General">
                  <c:v>1</c:v>
                </c:pt>
                <c:pt idx="292" formatCode="General">
                  <c:v>2</c:v>
                </c:pt>
                <c:pt idx="293" formatCode="General">
                  <c:v>1</c:v>
                </c:pt>
                <c:pt idx="294" formatCode="General">
                  <c:v>2</c:v>
                </c:pt>
                <c:pt idx="295" formatCode="General">
                  <c:v>0</c:v>
                </c:pt>
                <c:pt idx="296" formatCode="General">
                  <c:v>0</c:v>
                </c:pt>
                <c:pt idx="297" formatCode="General">
                  <c:v>2</c:v>
                </c:pt>
                <c:pt idx="298" formatCode="General">
                  <c:v>1</c:v>
                </c:pt>
                <c:pt idx="299" formatCode="General">
                  <c:v>0</c:v>
                </c:pt>
                <c:pt idx="300" formatCode="General">
                  <c:v>0</c:v>
                </c:pt>
                <c:pt idx="301" formatCode="General">
                  <c:v>2</c:v>
                </c:pt>
                <c:pt idx="302" formatCode="General">
                  <c:v>2</c:v>
                </c:pt>
                <c:pt idx="303" formatCode="General">
                  <c:v>0</c:v>
                </c:pt>
                <c:pt idx="304" formatCode="General">
                  <c:v>3</c:v>
                </c:pt>
                <c:pt idx="305" formatCode="General">
                  <c:v>1</c:v>
                </c:pt>
                <c:pt idx="306" formatCode="General">
                  <c:v>1</c:v>
                </c:pt>
                <c:pt idx="307" formatCode="General">
                  <c:v>2</c:v>
                </c:pt>
                <c:pt idx="308" formatCode="General">
                  <c:v>2</c:v>
                </c:pt>
                <c:pt idx="309" formatCode="General">
                  <c:v>1</c:v>
                </c:pt>
                <c:pt idx="310" formatCode="General">
                  <c:v>0</c:v>
                </c:pt>
                <c:pt idx="311" formatCode="General">
                  <c:v>0</c:v>
                </c:pt>
                <c:pt idx="312" formatCode="General">
                  <c:v>1</c:v>
                </c:pt>
                <c:pt idx="313" formatCode="General">
                  <c:v>0</c:v>
                </c:pt>
                <c:pt idx="314" formatCode="General">
                  <c:v>1</c:v>
                </c:pt>
                <c:pt idx="315" formatCode="General">
                  <c:v>1</c:v>
                </c:pt>
                <c:pt idx="316" formatCode="General">
                  <c:v>0</c:v>
                </c:pt>
                <c:pt idx="317" formatCode="General">
                  <c:v>0</c:v>
                </c:pt>
                <c:pt idx="318" formatCode="General">
                  <c:v>1</c:v>
                </c:pt>
                <c:pt idx="319" formatCode="General">
                  <c:v>0</c:v>
                </c:pt>
                <c:pt idx="320" formatCode="General">
                  <c:v>0</c:v>
                </c:pt>
                <c:pt idx="321" formatCode="General">
                  <c:v>2</c:v>
                </c:pt>
                <c:pt idx="322" formatCode="General">
                  <c:v>1</c:v>
                </c:pt>
                <c:pt idx="323" formatCode="General">
                  <c:v>2</c:v>
                </c:pt>
                <c:pt idx="324" formatCode="General">
                  <c:v>1</c:v>
                </c:pt>
                <c:pt idx="325" formatCode="General">
                  <c:v>2</c:v>
                </c:pt>
                <c:pt idx="326" formatCode="General">
                  <c:v>1</c:v>
                </c:pt>
                <c:pt idx="327" formatCode="General">
                  <c:v>2</c:v>
                </c:pt>
                <c:pt idx="328" formatCode="General">
                  <c:v>2</c:v>
                </c:pt>
                <c:pt idx="329" formatCode="General">
                  <c:v>1</c:v>
                </c:pt>
                <c:pt idx="330" formatCode="General">
                  <c:v>1</c:v>
                </c:pt>
                <c:pt idx="331" formatCode="General">
                  <c:v>1</c:v>
                </c:pt>
                <c:pt idx="332" formatCode="General">
                  <c:v>0</c:v>
                </c:pt>
                <c:pt idx="333" formatCode="General">
                  <c:v>1</c:v>
                </c:pt>
                <c:pt idx="334" formatCode="General">
                  <c:v>4</c:v>
                </c:pt>
                <c:pt idx="335" formatCode="General">
                  <c:v>1</c:v>
                </c:pt>
                <c:pt idx="336" formatCode="General">
                  <c:v>1</c:v>
                </c:pt>
                <c:pt idx="337" formatCode="General">
                  <c:v>1</c:v>
                </c:pt>
                <c:pt idx="338" formatCode="General">
                  <c:v>2</c:v>
                </c:pt>
                <c:pt idx="339" formatCode="General">
                  <c:v>0</c:v>
                </c:pt>
                <c:pt idx="340" formatCode="General">
                  <c:v>0</c:v>
                </c:pt>
                <c:pt idx="341" formatCode="General">
                  <c:v>1</c:v>
                </c:pt>
                <c:pt idx="342" formatCode="General">
                  <c:v>3</c:v>
                </c:pt>
                <c:pt idx="343" formatCode="General">
                  <c:v>1</c:v>
                </c:pt>
                <c:pt idx="344" formatCode="General">
                  <c:v>1</c:v>
                </c:pt>
                <c:pt idx="345" formatCode="General">
                  <c:v>2</c:v>
                </c:pt>
                <c:pt idx="346" formatCode="General">
                  <c:v>0</c:v>
                </c:pt>
                <c:pt idx="347" formatCode="General">
                  <c:v>2</c:v>
                </c:pt>
                <c:pt idx="348" formatCode="General">
                  <c:v>0</c:v>
                </c:pt>
                <c:pt idx="349" formatCode="General">
                  <c:v>2</c:v>
                </c:pt>
                <c:pt idx="350" formatCode="General">
                  <c:v>0</c:v>
                </c:pt>
                <c:pt idx="351" formatCode="General">
                  <c:v>1</c:v>
                </c:pt>
                <c:pt idx="352" formatCode="General">
                  <c:v>2</c:v>
                </c:pt>
                <c:pt idx="353" formatCode="General">
                  <c:v>3</c:v>
                </c:pt>
                <c:pt idx="354" formatCode="General">
                  <c:v>2</c:v>
                </c:pt>
                <c:pt idx="355" formatCode="General">
                  <c:v>3</c:v>
                </c:pt>
                <c:pt idx="356" formatCode="General">
                  <c:v>0</c:v>
                </c:pt>
                <c:pt idx="357" formatCode="General">
                  <c:v>3</c:v>
                </c:pt>
                <c:pt idx="358" formatCode="General">
                  <c:v>1</c:v>
                </c:pt>
                <c:pt idx="359" formatCode="General">
                  <c:v>2</c:v>
                </c:pt>
                <c:pt idx="360" formatCode="General">
                  <c:v>3</c:v>
                </c:pt>
                <c:pt idx="361" formatCode="General">
                  <c:v>4</c:v>
                </c:pt>
                <c:pt idx="362" formatCode="General">
                  <c:v>6</c:v>
                </c:pt>
                <c:pt idx="363" formatCode="General">
                  <c:v>1</c:v>
                </c:pt>
                <c:pt idx="364" formatCode="General">
                  <c:v>4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1878-4D26-A034-2048D890A8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86200191"/>
        <c:axId val="1186206431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Revenue (USD)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General</c:formatCode>
                <c:ptCount val="365"/>
                <c:pt idx="0">
                  <c:v>9553.9899999999925</c:v>
                </c:pt>
                <c:pt idx="1">
                  <c:v>6558.8999999999951</c:v>
                </c:pt>
                <c:pt idx="2">
                  <c:v>5754.8999999999896</c:v>
                </c:pt>
                <c:pt idx="3">
                  <c:v>4173.0599999999949</c:v>
                </c:pt>
                <c:pt idx="4">
                  <c:v>3007.0099999999984</c:v>
                </c:pt>
                <c:pt idx="5">
                  <c:v>2880.3800000000006</c:v>
                </c:pt>
                <c:pt idx="6">
                  <c:v>5346.3399999999929</c:v>
                </c:pt>
                <c:pt idx="7">
                  <c:v>8343.0099999999911</c:v>
                </c:pt>
                <c:pt idx="8">
                  <c:v>7722.8799999999956</c:v>
                </c:pt>
                <c:pt idx="9">
                  <c:v>4272.5299999999943</c:v>
                </c:pt>
                <c:pt idx="10">
                  <c:v>3459.8899999999958</c:v>
                </c:pt>
                <c:pt idx="11">
                  <c:v>4104.1699999999964</c:v>
                </c:pt>
                <c:pt idx="12">
                  <c:v>4336.0799999999945</c:v>
                </c:pt>
                <c:pt idx="13">
                  <c:v>5489.3499999999949</c:v>
                </c:pt>
                <c:pt idx="14">
                  <c:v>10728.109999999991</c:v>
                </c:pt>
                <c:pt idx="15">
                  <c:v>7610.1099999999942</c:v>
                </c:pt>
                <c:pt idx="16">
                  <c:v>5320.2599999999939</c:v>
                </c:pt>
                <c:pt idx="17">
                  <c:v>5713.9599999999955</c:v>
                </c:pt>
                <c:pt idx="18">
                  <c:v>6855.4999999999936</c:v>
                </c:pt>
                <c:pt idx="19">
                  <c:v>6414.6999999999889</c:v>
                </c:pt>
                <c:pt idx="20">
                  <c:v>5173.2399999999952</c:v>
                </c:pt>
                <c:pt idx="21">
                  <c:v>6166.2699999999959</c:v>
                </c:pt>
                <c:pt idx="22">
                  <c:v>3591.7899999999959</c:v>
                </c:pt>
                <c:pt idx="23">
                  <c:v>4921.1999999999953</c:v>
                </c:pt>
                <c:pt idx="24">
                  <c:v>3603.709999999995</c:v>
                </c:pt>
                <c:pt idx="25">
                  <c:v>3761.1599999999949</c:v>
                </c:pt>
                <c:pt idx="26">
                  <c:v>6132.4999999999936</c:v>
                </c:pt>
                <c:pt idx="27">
                  <c:v>5184.9199999999937</c:v>
                </c:pt>
                <c:pt idx="28">
                  <c:v>8794.1099999999933</c:v>
                </c:pt>
                <c:pt idx="29">
                  <c:v>6126.5299999999897</c:v>
                </c:pt>
                <c:pt idx="30">
                  <c:v>5910.229999999995</c:v>
                </c:pt>
                <c:pt idx="31">
                  <c:v>3572.1199999999953</c:v>
                </c:pt>
                <c:pt idx="32">
                  <c:v>4661.3299999999954</c:v>
                </c:pt>
                <c:pt idx="33">
                  <c:v>3160.0699999999952</c:v>
                </c:pt>
                <c:pt idx="34">
                  <c:v>5331.1099999999924</c:v>
                </c:pt>
                <c:pt idx="35">
                  <c:v>5444.0999999999913</c:v>
                </c:pt>
                <c:pt idx="36">
                  <c:v>6063.9599999999928</c:v>
                </c:pt>
                <c:pt idx="37">
                  <c:v>5061.5499999999929</c:v>
                </c:pt>
                <c:pt idx="38">
                  <c:v>3953.1499999999924</c:v>
                </c:pt>
                <c:pt idx="39">
                  <c:v>3590.4499999999971</c:v>
                </c:pt>
                <c:pt idx="40">
                  <c:v>4427.7499999999964</c:v>
                </c:pt>
                <c:pt idx="41">
                  <c:v>5241.0199999999959</c:v>
                </c:pt>
                <c:pt idx="42">
                  <c:v>6441.4999999999891</c:v>
                </c:pt>
                <c:pt idx="43">
                  <c:v>7238.8799999999901</c:v>
                </c:pt>
                <c:pt idx="44">
                  <c:v>5956.2999999999884</c:v>
                </c:pt>
                <c:pt idx="45">
                  <c:v>5277.6199999999953</c:v>
                </c:pt>
                <c:pt idx="46">
                  <c:v>4914.4899999999961</c:v>
                </c:pt>
                <c:pt idx="47">
                  <c:v>6242.6499999999915</c:v>
                </c:pt>
                <c:pt idx="48">
                  <c:v>6348.7799999999934</c:v>
                </c:pt>
                <c:pt idx="49">
                  <c:v>8849.6099999999897</c:v>
                </c:pt>
                <c:pt idx="50">
                  <c:v>5732.1899999999914</c:v>
                </c:pt>
                <c:pt idx="51">
                  <c:v>4849.9299999999912</c:v>
                </c:pt>
                <c:pt idx="52">
                  <c:v>4273.0399999999927</c:v>
                </c:pt>
                <c:pt idx="53">
                  <c:v>4806.5199999999932</c:v>
                </c:pt>
                <c:pt idx="54">
                  <c:v>6225.7499999999945</c:v>
                </c:pt>
                <c:pt idx="55">
                  <c:v>4705.3399999999947</c:v>
                </c:pt>
                <c:pt idx="56">
                  <c:v>11059.419999999986</c:v>
                </c:pt>
                <c:pt idx="57">
                  <c:v>5583.9399999999923</c:v>
                </c:pt>
                <c:pt idx="58">
                  <c:v>9041.2299999999941</c:v>
                </c:pt>
                <c:pt idx="59">
                  <c:v>6825.769999999995</c:v>
                </c:pt>
                <c:pt idx="60">
                  <c:v>7556.4799999999923</c:v>
                </c:pt>
                <c:pt idx="61">
                  <c:v>7524.2399999999898</c:v>
                </c:pt>
                <c:pt idx="62">
                  <c:v>7461.3099999999922</c:v>
                </c:pt>
                <c:pt idx="63">
                  <c:v>9442.809999999994</c:v>
                </c:pt>
                <c:pt idx="64">
                  <c:v>7187.8999999999905</c:v>
                </c:pt>
                <c:pt idx="65">
                  <c:v>5316.9199999999919</c:v>
                </c:pt>
                <c:pt idx="66">
                  <c:v>4640.2699999999968</c:v>
                </c:pt>
                <c:pt idx="67">
                  <c:v>7149.0199999999923</c:v>
                </c:pt>
                <c:pt idx="68">
                  <c:v>7935.5099999999911</c:v>
                </c:pt>
                <c:pt idx="69">
                  <c:v>8699.7299999999941</c:v>
                </c:pt>
                <c:pt idx="70">
                  <c:v>10205.19999999999</c:v>
                </c:pt>
                <c:pt idx="71">
                  <c:v>7214.0699999999906</c:v>
                </c:pt>
                <c:pt idx="72">
                  <c:v>4225.4599999999955</c:v>
                </c:pt>
                <c:pt idx="73">
                  <c:v>3802.9599999999959</c:v>
                </c:pt>
                <c:pt idx="74">
                  <c:v>4146.5499999999956</c:v>
                </c:pt>
                <c:pt idx="75">
                  <c:v>4958.1799999999967</c:v>
                </c:pt>
                <c:pt idx="76">
                  <c:v>10733.599999999986</c:v>
                </c:pt>
                <c:pt idx="77">
                  <c:v>9536.6699999999928</c:v>
                </c:pt>
                <c:pt idx="78">
                  <c:v>7645.2599999999875</c:v>
                </c:pt>
                <c:pt idx="79">
                  <c:v>5570.799999999992</c:v>
                </c:pt>
                <c:pt idx="80">
                  <c:v>3925.9699999999962</c:v>
                </c:pt>
                <c:pt idx="81">
                  <c:v>8009.5599999999968</c:v>
                </c:pt>
                <c:pt idx="82">
                  <c:v>5886.1599999999944</c:v>
                </c:pt>
                <c:pt idx="83">
                  <c:v>8561.0799999999927</c:v>
                </c:pt>
                <c:pt idx="84">
                  <c:v>9139.9899999999907</c:v>
                </c:pt>
                <c:pt idx="85">
                  <c:v>6949.1899999999914</c:v>
                </c:pt>
                <c:pt idx="86">
                  <c:v>5030.0299999999916</c:v>
                </c:pt>
                <c:pt idx="87">
                  <c:v>4242.5599999999977</c:v>
                </c:pt>
                <c:pt idx="88">
                  <c:v>6939.1199999999899</c:v>
                </c:pt>
                <c:pt idx="89">
                  <c:v>6156.2799999999934</c:v>
                </c:pt>
                <c:pt idx="90">
                  <c:v>7427.9599999999946</c:v>
                </c:pt>
                <c:pt idx="91">
                  <c:v>8939.5099999999929</c:v>
                </c:pt>
                <c:pt idx="92">
                  <c:v>7128.7599999999902</c:v>
                </c:pt>
                <c:pt idx="93">
                  <c:v>7305.799999999992</c:v>
                </c:pt>
                <c:pt idx="94">
                  <c:v>7749.0499999999902</c:v>
                </c:pt>
                <c:pt idx="95">
                  <c:v>6577.5999999999913</c:v>
                </c:pt>
                <c:pt idx="96">
                  <c:v>6661.3199999999906</c:v>
                </c:pt>
                <c:pt idx="97">
                  <c:v>6679.3099999999931</c:v>
                </c:pt>
                <c:pt idx="98">
                  <c:v>10595.819999999994</c:v>
                </c:pt>
                <c:pt idx="99">
                  <c:v>7047.639999999994</c:v>
                </c:pt>
                <c:pt idx="100">
                  <c:v>5613.1099999999933</c:v>
                </c:pt>
                <c:pt idx="101">
                  <c:v>6013.6599999999917</c:v>
                </c:pt>
                <c:pt idx="102">
                  <c:v>6027.1099999999933</c:v>
                </c:pt>
                <c:pt idx="103">
                  <c:v>7572.1099999999915</c:v>
                </c:pt>
                <c:pt idx="104">
                  <c:v>6997.5399999999918</c:v>
                </c:pt>
                <c:pt idx="105">
                  <c:v>10849.769999999988</c:v>
                </c:pt>
                <c:pt idx="106">
                  <c:v>7823.20999999999</c:v>
                </c:pt>
                <c:pt idx="107">
                  <c:v>5461.4299999999921</c:v>
                </c:pt>
                <c:pt idx="108">
                  <c:v>4368.6599999999944</c:v>
                </c:pt>
                <c:pt idx="109">
                  <c:v>5443.7899999999927</c:v>
                </c:pt>
                <c:pt idx="110">
                  <c:v>6162.1599999999953</c:v>
                </c:pt>
                <c:pt idx="111">
                  <c:v>10815.949999999986</c:v>
                </c:pt>
                <c:pt idx="112">
                  <c:v>11025.999999999995</c:v>
                </c:pt>
                <c:pt idx="113">
                  <c:v>6992.5899999999947</c:v>
                </c:pt>
                <c:pt idx="114">
                  <c:v>8896.6499999999942</c:v>
                </c:pt>
                <c:pt idx="115">
                  <c:v>5680.2399999999934</c:v>
                </c:pt>
                <c:pt idx="116">
                  <c:v>8777.3199999999943</c:v>
                </c:pt>
                <c:pt idx="117">
                  <c:v>11511.569999999983</c:v>
                </c:pt>
                <c:pt idx="118">
                  <c:v>9963.9999999999891</c:v>
                </c:pt>
                <c:pt idx="119">
                  <c:v>14548.649999999987</c:v>
                </c:pt>
                <c:pt idx="120">
                  <c:v>11971.739999999989</c:v>
                </c:pt>
                <c:pt idx="121">
                  <c:v>12041.729999999989</c:v>
                </c:pt>
                <c:pt idx="122">
                  <c:v>7616.9599999999919</c:v>
                </c:pt>
                <c:pt idx="123">
                  <c:v>11562.979999999987</c:v>
                </c:pt>
                <c:pt idx="124">
                  <c:v>11288.189999999988</c:v>
                </c:pt>
                <c:pt idx="125">
                  <c:v>12098.429999999984</c:v>
                </c:pt>
                <c:pt idx="126">
                  <c:v>12157.659999999987</c:v>
                </c:pt>
                <c:pt idx="127">
                  <c:v>13970.609999999984</c:v>
                </c:pt>
                <c:pt idx="128">
                  <c:v>11873.209999999986</c:v>
                </c:pt>
                <c:pt idx="129">
                  <c:v>7726.3999999999933</c:v>
                </c:pt>
                <c:pt idx="130">
                  <c:v>9998.1499999999905</c:v>
                </c:pt>
                <c:pt idx="131">
                  <c:v>10927.849999999989</c:v>
                </c:pt>
                <c:pt idx="132">
                  <c:v>9976.049999999992</c:v>
                </c:pt>
                <c:pt idx="133">
                  <c:v>14030.559999999992</c:v>
                </c:pt>
                <c:pt idx="134">
                  <c:v>14878.759999999984</c:v>
                </c:pt>
                <c:pt idx="135">
                  <c:v>9247.5599999999922</c:v>
                </c:pt>
                <c:pt idx="136">
                  <c:v>14479.839999999984</c:v>
                </c:pt>
                <c:pt idx="137">
                  <c:v>11443.449999999988</c:v>
                </c:pt>
                <c:pt idx="138">
                  <c:v>9683.0399999999918</c:v>
                </c:pt>
                <c:pt idx="139">
                  <c:v>11252.949999999992</c:v>
                </c:pt>
                <c:pt idx="140">
                  <c:v>17136.029999999992</c:v>
                </c:pt>
                <c:pt idx="141">
                  <c:v>12829.739999999983</c:v>
                </c:pt>
                <c:pt idx="142">
                  <c:v>9539.5599999999886</c:v>
                </c:pt>
                <c:pt idx="143">
                  <c:v>8074.6999999999889</c:v>
                </c:pt>
                <c:pt idx="144">
                  <c:v>9124.0399999999918</c:v>
                </c:pt>
                <c:pt idx="145">
                  <c:v>7920.8799999999919</c:v>
                </c:pt>
                <c:pt idx="146">
                  <c:v>11071.809999999989</c:v>
                </c:pt>
                <c:pt idx="147">
                  <c:v>16215.109999999988</c:v>
                </c:pt>
                <c:pt idx="148">
                  <c:v>15085.15999999998</c:v>
                </c:pt>
                <c:pt idx="149">
                  <c:v>10344.379999999986</c:v>
                </c:pt>
                <c:pt idx="150">
                  <c:v>12078.339999999984</c:v>
                </c:pt>
                <c:pt idx="151">
                  <c:v>13787.749999999989</c:v>
                </c:pt>
                <c:pt idx="152">
                  <c:v>13043.50999999998</c:v>
                </c:pt>
                <c:pt idx="153">
                  <c:v>15269.319999999989</c:v>
                </c:pt>
                <c:pt idx="154">
                  <c:v>14707.149999999994</c:v>
                </c:pt>
                <c:pt idx="155">
                  <c:v>12823.43999999999</c:v>
                </c:pt>
                <c:pt idx="156">
                  <c:v>12296.259999999982</c:v>
                </c:pt>
                <c:pt idx="157">
                  <c:v>8532.3499999999913</c:v>
                </c:pt>
                <c:pt idx="158">
                  <c:v>15376.109999999984</c:v>
                </c:pt>
                <c:pt idx="159">
                  <c:v>11615.479999999983</c:v>
                </c:pt>
                <c:pt idx="160">
                  <c:v>11510.449999999983</c:v>
                </c:pt>
                <c:pt idx="161">
                  <c:v>18451.449999999993</c:v>
                </c:pt>
                <c:pt idx="162">
                  <c:v>11052.539999999981</c:v>
                </c:pt>
                <c:pt idx="163">
                  <c:v>8579.5399999999881</c:v>
                </c:pt>
                <c:pt idx="164">
                  <c:v>10632.889999999983</c:v>
                </c:pt>
                <c:pt idx="165">
                  <c:v>15741.639999999985</c:v>
                </c:pt>
                <c:pt idx="166">
                  <c:v>30816.510000000017</c:v>
                </c:pt>
                <c:pt idx="167">
                  <c:v>25301.340000000018</c:v>
                </c:pt>
                <c:pt idx="168">
                  <c:v>24682.640000000029</c:v>
                </c:pt>
                <c:pt idx="169">
                  <c:v>22510.200000000012</c:v>
                </c:pt>
                <c:pt idx="170">
                  <c:v>19743.220000000008</c:v>
                </c:pt>
                <c:pt idx="171">
                  <c:v>13725.699999999981</c:v>
                </c:pt>
                <c:pt idx="172">
                  <c:v>12943.01999999997</c:v>
                </c:pt>
                <c:pt idx="173">
                  <c:v>15952.189999999991</c:v>
                </c:pt>
                <c:pt idx="174">
                  <c:v>18648.799999999996</c:v>
                </c:pt>
                <c:pt idx="175">
                  <c:v>20721.190000000017</c:v>
                </c:pt>
                <c:pt idx="176">
                  <c:v>13892.819999999991</c:v>
                </c:pt>
                <c:pt idx="177">
                  <c:v>16570.159999999985</c:v>
                </c:pt>
                <c:pt idx="178">
                  <c:v>15224.509999999986</c:v>
                </c:pt>
                <c:pt idx="179">
                  <c:v>18051.609999999997</c:v>
                </c:pt>
                <c:pt idx="180">
                  <c:v>17641.539999999997</c:v>
                </c:pt>
                <c:pt idx="181">
                  <c:v>25451.570000000011</c:v>
                </c:pt>
                <c:pt idx="182">
                  <c:v>29710.340000000026</c:v>
                </c:pt>
                <c:pt idx="183">
                  <c:v>22539.750000000011</c:v>
                </c:pt>
                <c:pt idx="184">
                  <c:v>18018.349999999988</c:v>
                </c:pt>
                <c:pt idx="185">
                  <c:v>21809.510000000024</c:v>
                </c:pt>
                <c:pt idx="186">
                  <c:v>14724.849999999984</c:v>
                </c:pt>
                <c:pt idx="187">
                  <c:v>14349.189999999995</c:v>
                </c:pt>
                <c:pt idx="188">
                  <c:v>15468.109999999981</c:v>
                </c:pt>
                <c:pt idx="189">
                  <c:v>25498.76000000002</c:v>
                </c:pt>
                <c:pt idx="190">
                  <c:v>21500.80000000001</c:v>
                </c:pt>
                <c:pt idx="191">
                  <c:v>19141.400000000001</c:v>
                </c:pt>
                <c:pt idx="192">
                  <c:v>14693.769999999977</c:v>
                </c:pt>
                <c:pt idx="193">
                  <c:v>15824.469999999981</c:v>
                </c:pt>
                <c:pt idx="194">
                  <c:v>23377.040000000012</c:v>
                </c:pt>
                <c:pt idx="195">
                  <c:v>20800.230000000007</c:v>
                </c:pt>
                <c:pt idx="196">
                  <c:v>30513.610000000011</c:v>
                </c:pt>
                <c:pt idx="197">
                  <c:v>23393.600000000017</c:v>
                </c:pt>
                <c:pt idx="198">
                  <c:v>20784.440000000006</c:v>
                </c:pt>
                <c:pt idx="199">
                  <c:v>16972.799999999985</c:v>
                </c:pt>
                <c:pt idx="200">
                  <c:v>22689.940000000021</c:v>
                </c:pt>
                <c:pt idx="201">
                  <c:v>20293.120000000014</c:v>
                </c:pt>
                <c:pt idx="202">
                  <c:v>21950.720000000012</c:v>
                </c:pt>
                <c:pt idx="203">
                  <c:v>28476.970000000041</c:v>
                </c:pt>
                <c:pt idx="204">
                  <c:v>18025.629999999986</c:v>
                </c:pt>
                <c:pt idx="205">
                  <c:v>12505.109999999984</c:v>
                </c:pt>
                <c:pt idx="206">
                  <c:v>16287.729999999987</c:v>
                </c:pt>
                <c:pt idx="207">
                  <c:v>15387.749999999991</c:v>
                </c:pt>
                <c:pt idx="208">
                  <c:v>19158.840000000011</c:v>
                </c:pt>
                <c:pt idx="209">
                  <c:v>22322.280000000028</c:v>
                </c:pt>
                <c:pt idx="210">
                  <c:v>18541.569999999989</c:v>
                </c:pt>
                <c:pt idx="211">
                  <c:v>16218.049999999981</c:v>
                </c:pt>
                <c:pt idx="212">
                  <c:v>16207.359999999988</c:v>
                </c:pt>
                <c:pt idx="213">
                  <c:v>13352.119999999984</c:v>
                </c:pt>
                <c:pt idx="214">
                  <c:v>15703.029999999979</c:v>
                </c:pt>
                <c:pt idx="215">
                  <c:v>18854.239999999983</c:v>
                </c:pt>
                <c:pt idx="216">
                  <c:v>18342.989999999994</c:v>
                </c:pt>
                <c:pt idx="217">
                  <c:v>26831.10000000002</c:v>
                </c:pt>
                <c:pt idx="218">
                  <c:v>19503.749999999989</c:v>
                </c:pt>
                <c:pt idx="219">
                  <c:v>14976.549999999977</c:v>
                </c:pt>
                <c:pt idx="220">
                  <c:v>13064.679999999978</c:v>
                </c:pt>
                <c:pt idx="221">
                  <c:v>19057.860000000004</c:v>
                </c:pt>
                <c:pt idx="222">
                  <c:v>23385.610000000015</c:v>
                </c:pt>
                <c:pt idx="223">
                  <c:v>24295.070000000029</c:v>
                </c:pt>
                <c:pt idx="224">
                  <c:v>21235.470000000016</c:v>
                </c:pt>
                <c:pt idx="225">
                  <c:v>19302.589999999989</c:v>
                </c:pt>
                <c:pt idx="226">
                  <c:v>16186.01999999999</c:v>
                </c:pt>
                <c:pt idx="227">
                  <c:v>16536.409999999989</c:v>
                </c:pt>
                <c:pt idx="228">
                  <c:v>17445.939999999988</c:v>
                </c:pt>
                <c:pt idx="229">
                  <c:v>18487.339999999997</c:v>
                </c:pt>
                <c:pt idx="230">
                  <c:v>19963.250000000025</c:v>
                </c:pt>
                <c:pt idx="231">
                  <c:v>25916.130000000034</c:v>
                </c:pt>
                <c:pt idx="232">
                  <c:v>17618.899999999994</c:v>
                </c:pt>
                <c:pt idx="233">
                  <c:v>17006.059999999983</c:v>
                </c:pt>
                <c:pt idx="234">
                  <c:v>15136.199999999975</c:v>
                </c:pt>
                <c:pt idx="235">
                  <c:v>17966.30999999999</c:v>
                </c:pt>
                <c:pt idx="236">
                  <c:v>16495.789999999979</c:v>
                </c:pt>
                <c:pt idx="237">
                  <c:v>19567.490000000013</c:v>
                </c:pt>
                <c:pt idx="238">
                  <c:v>24751.590000000015</c:v>
                </c:pt>
                <c:pt idx="239">
                  <c:v>19246.57</c:v>
                </c:pt>
                <c:pt idx="240">
                  <c:v>17092.169999999991</c:v>
                </c:pt>
                <c:pt idx="241">
                  <c:v>15091.969999999981</c:v>
                </c:pt>
                <c:pt idx="242">
                  <c:v>20334.770000000022</c:v>
                </c:pt>
                <c:pt idx="243">
                  <c:v>20646.110000000011</c:v>
                </c:pt>
                <c:pt idx="244">
                  <c:v>22282.660000000047</c:v>
                </c:pt>
                <c:pt idx="245">
                  <c:v>26604.730000000036</c:v>
                </c:pt>
                <c:pt idx="246">
                  <c:v>17848.709999999988</c:v>
                </c:pt>
                <c:pt idx="247">
                  <c:v>14695.839999999986</c:v>
                </c:pt>
                <c:pt idx="248">
                  <c:v>18310.089999999997</c:v>
                </c:pt>
                <c:pt idx="249">
                  <c:v>17174.019999999979</c:v>
                </c:pt>
                <c:pt idx="250">
                  <c:v>17255.899999999994</c:v>
                </c:pt>
                <c:pt idx="251">
                  <c:v>20511.210000000014</c:v>
                </c:pt>
                <c:pt idx="252">
                  <c:v>24431.850000000042</c:v>
                </c:pt>
                <c:pt idx="253">
                  <c:v>22149.930000000018</c:v>
                </c:pt>
                <c:pt idx="254">
                  <c:v>22064.970000000016</c:v>
                </c:pt>
                <c:pt idx="255">
                  <c:v>21948.140000000029</c:v>
                </c:pt>
                <c:pt idx="256">
                  <c:v>22564.160000000014</c:v>
                </c:pt>
                <c:pt idx="257">
                  <c:v>21483.510000000028</c:v>
                </c:pt>
                <c:pt idx="258">
                  <c:v>21666.980000000014</c:v>
                </c:pt>
                <c:pt idx="259">
                  <c:v>27972.890000000029</c:v>
                </c:pt>
                <c:pt idx="260">
                  <c:v>21367.580000000027</c:v>
                </c:pt>
                <c:pt idx="261">
                  <c:v>19303.669999999995</c:v>
                </c:pt>
                <c:pt idx="262">
                  <c:v>18706.049999999988</c:v>
                </c:pt>
                <c:pt idx="263">
                  <c:v>21513.000000000036</c:v>
                </c:pt>
                <c:pt idx="264">
                  <c:v>19807.180000000004</c:v>
                </c:pt>
                <c:pt idx="265">
                  <c:v>23613.530000000021</c:v>
                </c:pt>
                <c:pt idx="266">
                  <c:v>33043.950000000033</c:v>
                </c:pt>
                <c:pt idx="267">
                  <c:v>23619.360000000019</c:v>
                </c:pt>
                <c:pt idx="268">
                  <c:v>21071.880000000016</c:v>
                </c:pt>
                <c:pt idx="269">
                  <c:v>21298.960000000014</c:v>
                </c:pt>
                <c:pt idx="270">
                  <c:v>23784.800000000025</c:v>
                </c:pt>
                <c:pt idx="271">
                  <c:v>18618.250000000007</c:v>
                </c:pt>
                <c:pt idx="272">
                  <c:v>26046.710000000028</c:v>
                </c:pt>
                <c:pt idx="273">
                  <c:v>26065.360000000015</c:v>
                </c:pt>
                <c:pt idx="274">
                  <c:v>27451.470000000038</c:v>
                </c:pt>
                <c:pt idx="275">
                  <c:v>20725.87000000001</c:v>
                </c:pt>
                <c:pt idx="276">
                  <c:v>22404.760000000031</c:v>
                </c:pt>
                <c:pt idx="277">
                  <c:v>21278.35000000002</c:v>
                </c:pt>
                <c:pt idx="278">
                  <c:v>23306.640000000021</c:v>
                </c:pt>
                <c:pt idx="279">
                  <c:v>24681.40000000002</c:v>
                </c:pt>
                <c:pt idx="280">
                  <c:v>24393.450000000033</c:v>
                </c:pt>
                <c:pt idx="281">
                  <c:v>20234.260000000009</c:v>
                </c:pt>
                <c:pt idx="282">
                  <c:v>20213.310000000023</c:v>
                </c:pt>
                <c:pt idx="283">
                  <c:v>18677.739999999983</c:v>
                </c:pt>
                <c:pt idx="284">
                  <c:v>19163.720000000012</c:v>
                </c:pt>
                <c:pt idx="285">
                  <c:v>18602.759999999995</c:v>
                </c:pt>
                <c:pt idx="286">
                  <c:v>20699.050000000021</c:v>
                </c:pt>
                <c:pt idx="287">
                  <c:v>32820.28000000005</c:v>
                </c:pt>
                <c:pt idx="288">
                  <c:v>23392.790000000012</c:v>
                </c:pt>
                <c:pt idx="289">
                  <c:v>20404.270000000033</c:v>
                </c:pt>
                <c:pt idx="290">
                  <c:v>18973.450000000008</c:v>
                </c:pt>
                <c:pt idx="291">
                  <c:v>23156.780000000053</c:v>
                </c:pt>
                <c:pt idx="292">
                  <c:v>16434.249999999975</c:v>
                </c:pt>
                <c:pt idx="293">
                  <c:v>20984.74000000002</c:v>
                </c:pt>
                <c:pt idx="294">
                  <c:v>20250.670000000013</c:v>
                </c:pt>
                <c:pt idx="295">
                  <c:v>23857.890000000036</c:v>
                </c:pt>
                <c:pt idx="296">
                  <c:v>18869.239999999987</c:v>
                </c:pt>
                <c:pt idx="297">
                  <c:v>16469.839999999989</c:v>
                </c:pt>
                <c:pt idx="298">
                  <c:v>16754.54999999997</c:v>
                </c:pt>
                <c:pt idx="299">
                  <c:v>15074.559999999974</c:v>
                </c:pt>
                <c:pt idx="300">
                  <c:v>19277.339999999997</c:v>
                </c:pt>
                <c:pt idx="301">
                  <c:v>22356.74000000002</c:v>
                </c:pt>
                <c:pt idx="302">
                  <c:v>22083.070000000022</c:v>
                </c:pt>
                <c:pt idx="303">
                  <c:v>18770.050000000007</c:v>
                </c:pt>
                <c:pt idx="304">
                  <c:v>19046.910000000011</c:v>
                </c:pt>
                <c:pt idx="305">
                  <c:v>23670.529999999992</c:v>
                </c:pt>
                <c:pt idx="306">
                  <c:v>21430.930000000015</c:v>
                </c:pt>
                <c:pt idx="307">
                  <c:v>20843.990000000016</c:v>
                </c:pt>
                <c:pt idx="308">
                  <c:v>26004.740000000023</c:v>
                </c:pt>
                <c:pt idx="309">
                  <c:v>23312.130000000026</c:v>
                </c:pt>
                <c:pt idx="310">
                  <c:v>20079.830000000009</c:v>
                </c:pt>
                <c:pt idx="311">
                  <c:v>20362.560000000023</c:v>
                </c:pt>
                <c:pt idx="312">
                  <c:v>17723.35999999999</c:v>
                </c:pt>
                <c:pt idx="313">
                  <c:v>15622.499999999975</c:v>
                </c:pt>
                <c:pt idx="314">
                  <c:v>21139.770000000019</c:v>
                </c:pt>
                <c:pt idx="315">
                  <c:v>27717.830000000031</c:v>
                </c:pt>
                <c:pt idx="316">
                  <c:v>18406.399999999991</c:v>
                </c:pt>
                <c:pt idx="317">
                  <c:v>16092.339999999971</c:v>
                </c:pt>
                <c:pt idx="318">
                  <c:v>17337.649999999983</c:v>
                </c:pt>
                <c:pt idx="319">
                  <c:v>20213.450000000019</c:v>
                </c:pt>
                <c:pt idx="320">
                  <c:v>20013.860000000022</c:v>
                </c:pt>
                <c:pt idx="321">
                  <c:v>21275.780000000013</c:v>
                </c:pt>
                <c:pt idx="322">
                  <c:v>24354.150000000016</c:v>
                </c:pt>
                <c:pt idx="323">
                  <c:v>25860.850000000017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0000000027</c:v>
                </c:pt>
                <c:pt idx="327">
                  <c:v>20972.440000000017</c:v>
                </c:pt>
                <c:pt idx="328">
                  <c:v>22306.850000000035</c:v>
                </c:pt>
                <c:pt idx="329">
                  <c:v>25349.02000000003</c:v>
                </c:pt>
                <c:pt idx="330">
                  <c:v>22696.12</c:v>
                </c:pt>
                <c:pt idx="331">
                  <c:v>15978.08999999998</c:v>
                </c:pt>
                <c:pt idx="332">
                  <c:v>17436.459999999988</c:v>
                </c:pt>
                <c:pt idx="333">
                  <c:v>16321.839999999975</c:v>
                </c:pt>
                <c:pt idx="334">
                  <c:v>20305.000000000022</c:v>
                </c:pt>
                <c:pt idx="335">
                  <c:v>25578.170000000038</c:v>
                </c:pt>
                <c:pt idx="336">
                  <c:v>29145.130000000034</c:v>
                </c:pt>
                <c:pt idx="337">
                  <c:v>27869.580000000031</c:v>
                </c:pt>
                <c:pt idx="338">
                  <c:v>24449.550000000021</c:v>
                </c:pt>
                <c:pt idx="339">
                  <c:v>17599.579999999976</c:v>
                </c:pt>
                <c:pt idx="340">
                  <c:v>18018.459999999974</c:v>
                </c:pt>
                <c:pt idx="341">
                  <c:v>17586.68</c:v>
                </c:pt>
                <c:pt idx="342">
                  <c:v>23905.110000000041</c:v>
                </c:pt>
                <c:pt idx="343">
                  <c:v>24258.470000000038</c:v>
                </c:pt>
                <c:pt idx="344">
                  <c:v>25037.270000000026</c:v>
                </c:pt>
                <c:pt idx="345">
                  <c:v>20716.810000000005</c:v>
                </c:pt>
                <c:pt idx="346">
                  <c:v>16930.369999999984</c:v>
                </c:pt>
                <c:pt idx="347">
                  <c:v>17308.779999999977</c:v>
                </c:pt>
                <c:pt idx="348">
                  <c:v>20118.870000000021</c:v>
                </c:pt>
                <c:pt idx="349">
                  <c:v>24932.310000000019</c:v>
                </c:pt>
                <c:pt idx="350">
                  <c:v>28770.420000000042</c:v>
                </c:pt>
                <c:pt idx="351">
                  <c:v>25351.010000000006</c:v>
                </c:pt>
                <c:pt idx="352">
                  <c:v>20215.960000000036</c:v>
                </c:pt>
                <c:pt idx="353">
                  <c:v>17363.349999999988</c:v>
                </c:pt>
                <c:pt idx="354">
                  <c:v>19548.540000000005</c:v>
                </c:pt>
                <c:pt idx="355">
                  <c:v>17682.329999999994</c:v>
                </c:pt>
                <c:pt idx="356">
                  <c:v>18745.330000000005</c:v>
                </c:pt>
                <c:pt idx="357">
                  <c:v>29639.220000000041</c:v>
                </c:pt>
                <c:pt idx="358">
                  <c:v>25426.93000000004</c:v>
                </c:pt>
                <c:pt idx="359">
                  <c:v>20853.220000000012</c:v>
                </c:pt>
                <c:pt idx="360">
                  <c:v>18639.729999999985</c:v>
                </c:pt>
                <c:pt idx="361">
                  <c:v>19712.140000000021</c:v>
                </c:pt>
                <c:pt idx="362">
                  <c:v>17940.459999999988</c:v>
                </c:pt>
                <c:pt idx="363">
                  <c:v>20797.710000000006</c:v>
                </c:pt>
                <c:pt idx="364">
                  <c:v>27055.760000000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878-4D26-A034-2048D890A84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US Elections - Important dates 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7"/>
            <c:spPr>
              <a:solidFill>
                <a:schemeClr val="bg1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Pt>
            <c:idx val="150"/>
            <c:marker>
              <c:symbol val="circle"/>
              <c:size val="7"/>
              <c:spPr>
                <a:solidFill>
                  <a:schemeClr val="bg1"/>
                </a:solidFill>
                <a:ln w="25400">
                  <a:solidFill>
                    <a:schemeClr val="accent6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1878-4D26-A034-2048D890A843}"/>
              </c:ext>
            </c:extLst>
          </c:dPt>
          <c:dPt>
            <c:idx val="189"/>
            <c:marker>
              <c:symbol val="circle"/>
              <c:size val="7"/>
              <c:spPr>
                <a:solidFill>
                  <a:schemeClr val="bg1"/>
                </a:solidFill>
                <a:ln w="25400">
                  <a:solidFill>
                    <a:schemeClr val="accent6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1878-4D26-A034-2048D890A843}"/>
              </c:ext>
            </c:extLst>
          </c:dPt>
          <c:dPt>
            <c:idx val="197"/>
            <c:marker>
              <c:symbol val="circle"/>
              <c:size val="7"/>
              <c:spPr>
                <a:solidFill>
                  <a:schemeClr val="bg1"/>
                </a:solidFill>
                <a:ln w="25400">
                  <a:solidFill>
                    <a:schemeClr val="accent6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1878-4D26-A034-2048D890A843}"/>
              </c:ext>
            </c:extLst>
          </c:dPt>
          <c:dPt>
            <c:idx val="204"/>
            <c:marker>
              <c:symbol val="circle"/>
              <c:size val="7"/>
              <c:spPr>
                <a:solidFill>
                  <a:schemeClr val="bg1"/>
                </a:solidFill>
                <a:ln w="25400">
                  <a:solidFill>
                    <a:schemeClr val="accent6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1878-4D26-A034-2048D890A843}"/>
              </c:ext>
            </c:extLst>
          </c:dPt>
          <c:dPt>
            <c:idx val="216"/>
            <c:marker>
              <c:symbol val="circle"/>
              <c:size val="7"/>
              <c:spPr>
                <a:solidFill>
                  <a:schemeClr val="bg1"/>
                </a:solidFill>
                <a:ln w="25400">
                  <a:solidFill>
                    <a:schemeClr val="accent6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1878-4D26-A034-2048D890A843}"/>
              </c:ext>
            </c:extLst>
          </c:dPt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D$2:$D$366</c:f>
              <c:numCache>
                <c:formatCode>General</c:formatCode>
                <c:ptCount val="365"/>
                <c:pt idx="150">
                  <c:v>12078.339999999984</c:v>
                </c:pt>
                <c:pt idx="189">
                  <c:v>25498.76000000002</c:v>
                </c:pt>
                <c:pt idx="197">
                  <c:v>23393.600000000017</c:v>
                </c:pt>
                <c:pt idx="204">
                  <c:v>18025.629999999986</c:v>
                </c:pt>
                <c:pt idx="216">
                  <c:v>18342.98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1878-4D26-A034-2048D890A8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dateAx>
        <c:axId val="-955199408"/>
        <c:scaling>
          <c:orientation val="minMax"/>
        </c:scaling>
        <c:delete val="0"/>
        <c:axPos val="b"/>
        <c:numFmt formatCode="dd/mmm/yy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lang="ja-JP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At val="0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 baseline="0" dirty="0"/>
                  <a:t>Revenue (in USD)</a:t>
                </a:r>
                <a:endParaRPr lang="en-IN" b="1" dirty="0"/>
              </a:p>
            </c:rich>
          </c:tx>
          <c:layout>
            <c:manualLayout>
              <c:xMode val="edge"/>
              <c:yMode val="edge"/>
              <c:x val="3.9851326150020724E-2"/>
              <c:y val="0.2537689442045550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1186206431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000" b="1" i="0" baseline="0" dirty="0">
                    <a:effectLst/>
                  </a:rPr>
                  <a:t>Google Trend Points</a:t>
                </a:r>
                <a:endParaRPr lang="en-IN" sz="1000" b="1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6200191"/>
        <c:crosses val="max"/>
        <c:crossBetween val="between"/>
      </c:valAx>
      <c:dateAx>
        <c:axId val="1186200191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186206431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 kern="12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+mj-ea"/>
                <a:cs typeface="+mj-cs"/>
              </a:rPr>
              <a:t>Covid</a:t>
            </a:r>
            <a:r>
              <a:rPr lang="en-US" sz="1400" b="1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j-ea"/>
                <a:cs typeface="+mj-cs"/>
              </a:rPr>
              <a:t> Cas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647250685203459E-2"/>
          <c:y val="0.1110100897260959"/>
          <c:w val="0.85009385801103066"/>
          <c:h val="0.58994024767250741"/>
        </c:manualLayout>
      </c:layou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Revenue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C$2:$C$366</c:f>
              <c:numCache>
                <c:formatCode>General</c:formatCode>
                <c:ptCount val="365"/>
                <c:pt idx="0">
                  <c:v>9553.99</c:v>
                </c:pt>
                <c:pt idx="1">
                  <c:v>6558.9</c:v>
                </c:pt>
                <c:pt idx="2">
                  <c:v>5754.9</c:v>
                </c:pt>
                <c:pt idx="3">
                  <c:v>4173.0600000000004</c:v>
                </c:pt>
                <c:pt idx="4">
                  <c:v>3007.01</c:v>
                </c:pt>
                <c:pt idx="5">
                  <c:v>2880.38</c:v>
                </c:pt>
                <c:pt idx="6">
                  <c:v>5346.34</c:v>
                </c:pt>
                <c:pt idx="7">
                  <c:v>8343.01</c:v>
                </c:pt>
                <c:pt idx="8">
                  <c:v>7722.88</c:v>
                </c:pt>
                <c:pt idx="9">
                  <c:v>4272.53</c:v>
                </c:pt>
                <c:pt idx="10">
                  <c:v>3459.89</c:v>
                </c:pt>
                <c:pt idx="11">
                  <c:v>4104.17</c:v>
                </c:pt>
                <c:pt idx="12">
                  <c:v>4336.08</c:v>
                </c:pt>
                <c:pt idx="13">
                  <c:v>5489.35</c:v>
                </c:pt>
                <c:pt idx="14">
                  <c:v>10728.11</c:v>
                </c:pt>
                <c:pt idx="15">
                  <c:v>7610.11</c:v>
                </c:pt>
                <c:pt idx="16">
                  <c:v>5320.26</c:v>
                </c:pt>
                <c:pt idx="17">
                  <c:v>5713.96</c:v>
                </c:pt>
                <c:pt idx="18">
                  <c:v>6855.5</c:v>
                </c:pt>
                <c:pt idx="19">
                  <c:v>6414.7</c:v>
                </c:pt>
                <c:pt idx="20">
                  <c:v>5173.24</c:v>
                </c:pt>
                <c:pt idx="21">
                  <c:v>6166.27</c:v>
                </c:pt>
                <c:pt idx="22">
                  <c:v>3591.79</c:v>
                </c:pt>
                <c:pt idx="23">
                  <c:v>4921.2</c:v>
                </c:pt>
                <c:pt idx="24">
                  <c:v>3603.71</c:v>
                </c:pt>
                <c:pt idx="25">
                  <c:v>3761.16</c:v>
                </c:pt>
                <c:pt idx="26">
                  <c:v>6132.5</c:v>
                </c:pt>
                <c:pt idx="27">
                  <c:v>5184.92</c:v>
                </c:pt>
                <c:pt idx="28">
                  <c:v>8794.11</c:v>
                </c:pt>
                <c:pt idx="29">
                  <c:v>6126.53</c:v>
                </c:pt>
                <c:pt idx="30">
                  <c:v>5910.23</c:v>
                </c:pt>
                <c:pt idx="31">
                  <c:v>3572.12</c:v>
                </c:pt>
                <c:pt idx="32">
                  <c:v>4661.33</c:v>
                </c:pt>
                <c:pt idx="33">
                  <c:v>3160.07</c:v>
                </c:pt>
                <c:pt idx="34">
                  <c:v>5331.11</c:v>
                </c:pt>
                <c:pt idx="35">
                  <c:v>5444.1</c:v>
                </c:pt>
                <c:pt idx="36">
                  <c:v>6063.96</c:v>
                </c:pt>
                <c:pt idx="37">
                  <c:v>5061.55</c:v>
                </c:pt>
                <c:pt idx="38">
                  <c:v>3953.15</c:v>
                </c:pt>
                <c:pt idx="39">
                  <c:v>3590.45</c:v>
                </c:pt>
                <c:pt idx="40">
                  <c:v>4427.75</c:v>
                </c:pt>
                <c:pt idx="41">
                  <c:v>5241.0200000000004</c:v>
                </c:pt>
                <c:pt idx="42">
                  <c:v>6441.5</c:v>
                </c:pt>
                <c:pt idx="43">
                  <c:v>7238.88</c:v>
                </c:pt>
                <c:pt idx="44">
                  <c:v>5956.3</c:v>
                </c:pt>
                <c:pt idx="45">
                  <c:v>5277.62</c:v>
                </c:pt>
                <c:pt idx="46">
                  <c:v>4914.49</c:v>
                </c:pt>
                <c:pt idx="47">
                  <c:v>6242.65</c:v>
                </c:pt>
                <c:pt idx="48">
                  <c:v>6348.78</c:v>
                </c:pt>
                <c:pt idx="49">
                  <c:v>8849.61</c:v>
                </c:pt>
                <c:pt idx="50">
                  <c:v>5732.19</c:v>
                </c:pt>
                <c:pt idx="51">
                  <c:v>4849.93</c:v>
                </c:pt>
                <c:pt idx="52">
                  <c:v>4273.04</c:v>
                </c:pt>
                <c:pt idx="53">
                  <c:v>4806.5200000000004</c:v>
                </c:pt>
                <c:pt idx="54">
                  <c:v>6225.75</c:v>
                </c:pt>
                <c:pt idx="55">
                  <c:v>4705.34</c:v>
                </c:pt>
                <c:pt idx="56">
                  <c:v>11059.42</c:v>
                </c:pt>
                <c:pt idx="57">
                  <c:v>5583.94</c:v>
                </c:pt>
                <c:pt idx="58">
                  <c:v>9041.23</c:v>
                </c:pt>
                <c:pt idx="59">
                  <c:v>6825.77</c:v>
                </c:pt>
                <c:pt idx="60">
                  <c:v>7556.48</c:v>
                </c:pt>
                <c:pt idx="61">
                  <c:v>7524.24</c:v>
                </c:pt>
                <c:pt idx="62">
                  <c:v>7461.31</c:v>
                </c:pt>
                <c:pt idx="63">
                  <c:v>9442.81</c:v>
                </c:pt>
                <c:pt idx="64">
                  <c:v>7187.9</c:v>
                </c:pt>
                <c:pt idx="65">
                  <c:v>5316.92</c:v>
                </c:pt>
                <c:pt idx="66">
                  <c:v>4640.2700000000004</c:v>
                </c:pt>
                <c:pt idx="67">
                  <c:v>7149.02</c:v>
                </c:pt>
                <c:pt idx="68">
                  <c:v>7935.51</c:v>
                </c:pt>
                <c:pt idx="69">
                  <c:v>8699.73</c:v>
                </c:pt>
                <c:pt idx="70">
                  <c:v>10205.200000000001</c:v>
                </c:pt>
                <c:pt idx="71">
                  <c:v>7214.07</c:v>
                </c:pt>
                <c:pt idx="72">
                  <c:v>4225.46</c:v>
                </c:pt>
                <c:pt idx="73">
                  <c:v>3802.96</c:v>
                </c:pt>
                <c:pt idx="74">
                  <c:v>4146.55</c:v>
                </c:pt>
                <c:pt idx="75">
                  <c:v>4958.18</c:v>
                </c:pt>
                <c:pt idx="76">
                  <c:v>10733.6</c:v>
                </c:pt>
                <c:pt idx="77">
                  <c:v>9536.67</c:v>
                </c:pt>
                <c:pt idx="78">
                  <c:v>7645.26</c:v>
                </c:pt>
                <c:pt idx="79">
                  <c:v>5570.8</c:v>
                </c:pt>
                <c:pt idx="80">
                  <c:v>3925.97</c:v>
                </c:pt>
                <c:pt idx="81">
                  <c:v>8009.56</c:v>
                </c:pt>
                <c:pt idx="82">
                  <c:v>5886.16</c:v>
                </c:pt>
                <c:pt idx="83">
                  <c:v>8561.08</c:v>
                </c:pt>
                <c:pt idx="84">
                  <c:v>9139.99</c:v>
                </c:pt>
                <c:pt idx="85">
                  <c:v>6949.19</c:v>
                </c:pt>
                <c:pt idx="86">
                  <c:v>5030.03</c:v>
                </c:pt>
                <c:pt idx="87">
                  <c:v>4242.5600000000004</c:v>
                </c:pt>
                <c:pt idx="88">
                  <c:v>6939.12</c:v>
                </c:pt>
                <c:pt idx="89">
                  <c:v>6156.28</c:v>
                </c:pt>
                <c:pt idx="90">
                  <c:v>7427.96</c:v>
                </c:pt>
                <c:pt idx="91">
                  <c:v>8939.51</c:v>
                </c:pt>
                <c:pt idx="92">
                  <c:v>7128.76</c:v>
                </c:pt>
                <c:pt idx="93">
                  <c:v>7305.8</c:v>
                </c:pt>
                <c:pt idx="94">
                  <c:v>7749.05</c:v>
                </c:pt>
                <c:pt idx="95">
                  <c:v>6577.6</c:v>
                </c:pt>
                <c:pt idx="96">
                  <c:v>6661.32</c:v>
                </c:pt>
                <c:pt idx="97">
                  <c:v>6679.31</c:v>
                </c:pt>
                <c:pt idx="98">
                  <c:v>10595.82</c:v>
                </c:pt>
                <c:pt idx="99">
                  <c:v>7047.64</c:v>
                </c:pt>
                <c:pt idx="100">
                  <c:v>5613.11</c:v>
                </c:pt>
                <c:pt idx="101">
                  <c:v>6013.66</c:v>
                </c:pt>
                <c:pt idx="102">
                  <c:v>6027.11</c:v>
                </c:pt>
                <c:pt idx="103">
                  <c:v>7572.11</c:v>
                </c:pt>
                <c:pt idx="104">
                  <c:v>6997.54</c:v>
                </c:pt>
                <c:pt idx="105">
                  <c:v>10849.77</c:v>
                </c:pt>
                <c:pt idx="106">
                  <c:v>7823.21</c:v>
                </c:pt>
                <c:pt idx="107">
                  <c:v>5461.43</c:v>
                </c:pt>
                <c:pt idx="108">
                  <c:v>4368.66</c:v>
                </c:pt>
                <c:pt idx="109">
                  <c:v>5443.79</c:v>
                </c:pt>
                <c:pt idx="110">
                  <c:v>6162.16</c:v>
                </c:pt>
                <c:pt idx="111">
                  <c:v>10815.95</c:v>
                </c:pt>
                <c:pt idx="112">
                  <c:v>11026</c:v>
                </c:pt>
                <c:pt idx="113">
                  <c:v>6992.59</c:v>
                </c:pt>
                <c:pt idx="114">
                  <c:v>8896.65</c:v>
                </c:pt>
                <c:pt idx="115">
                  <c:v>5680.24</c:v>
                </c:pt>
                <c:pt idx="116">
                  <c:v>8777.32</c:v>
                </c:pt>
                <c:pt idx="117">
                  <c:v>11511.57</c:v>
                </c:pt>
                <c:pt idx="118">
                  <c:v>9964</c:v>
                </c:pt>
                <c:pt idx="119">
                  <c:v>14548.65</c:v>
                </c:pt>
                <c:pt idx="120">
                  <c:v>11971.74</c:v>
                </c:pt>
                <c:pt idx="121">
                  <c:v>12041.73</c:v>
                </c:pt>
                <c:pt idx="122">
                  <c:v>7616.96</c:v>
                </c:pt>
                <c:pt idx="123">
                  <c:v>11562.98</c:v>
                </c:pt>
                <c:pt idx="124">
                  <c:v>11288.19</c:v>
                </c:pt>
                <c:pt idx="125">
                  <c:v>12098.43</c:v>
                </c:pt>
                <c:pt idx="126">
                  <c:v>12157.66</c:v>
                </c:pt>
                <c:pt idx="127">
                  <c:v>13970.61</c:v>
                </c:pt>
                <c:pt idx="128">
                  <c:v>11873.21</c:v>
                </c:pt>
                <c:pt idx="129">
                  <c:v>7726.4</c:v>
                </c:pt>
                <c:pt idx="130">
                  <c:v>9998.15</c:v>
                </c:pt>
                <c:pt idx="131">
                  <c:v>10927.85</c:v>
                </c:pt>
                <c:pt idx="132">
                  <c:v>9976.0499999999993</c:v>
                </c:pt>
                <c:pt idx="133">
                  <c:v>14030.56</c:v>
                </c:pt>
                <c:pt idx="134">
                  <c:v>14878.76</c:v>
                </c:pt>
                <c:pt idx="135">
                  <c:v>9247.56</c:v>
                </c:pt>
                <c:pt idx="136">
                  <c:v>14479.84</c:v>
                </c:pt>
                <c:pt idx="137">
                  <c:v>11443.45</c:v>
                </c:pt>
                <c:pt idx="138">
                  <c:v>9683.0400000000009</c:v>
                </c:pt>
                <c:pt idx="139">
                  <c:v>11252.95</c:v>
                </c:pt>
                <c:pt idx="140">
                  <c:v>17136.03</c:v>
                </c:pt>
                <c:pt idx="141">
                  <c:v>12829.74</c:v>
                </c:pt>
                <c:pt idx="142">
                  <c:v>9539.56</c:v>
                </c:pt>
                <c:pt idx="143">
                  <c:v>8074.7</c:v>
                </c:pt>
                <c:pt idx="144">
                  <c:v>9124.0400000000009</c:v>
                </c:pt>
                <c:pt idx="145">
                  <c:v>7920.88</c:v>
                </c:pt>
                <c:pt idx="146">
                  <c:v>11071.81</c:v>
                </c:pt>
                <c:pt idx="147">
                  <c:v>16215.11</c:v>
                </c:pt>
                <c:pt idx="148">
                  <c:v>15085.16</c:v>
                </c:pt>
                <c:pt idx="149">
                  <c:v>10344.379999999999</c:v>
                </c:pt>
                <c:pt idx="150">
                  <c:v>12078.34</c:v>
                </c:pt>
                <c:pt idx="151">
                  <c:v>13787.75</c:v>
                </c:pt>
                <c:pt idx="152">
                  <c:v>13043.51</c:v>
                </c:pt>
                <c:pt idx="153">
                  <c:v>15269.32</c:v>
                </c:pt>
                <c:pt idx="154">
                  <c:v>14707.15</c:v>
                </c:pt>
                <c:pt idx="155">
                  <c:v>12823.44</c:v>
                </c:pt>
                <c:pt idx="156">
                  <c:v>12296.26</c:v>
                </c:pt>
                <c:pt idx="157">
                  <c:v>8532.35</c:v>
                </c:pt>
                <c:pt idx="158">
                  <c:v>15376.11</c:v>
                </c:pt>
                <c:pt idx="159">
                  <c:v>11615.48</c:v>
                </c:pt>
                <c:pt idx="160">
                  <c:v>11510.45</c:v>
                </c:pt>
                <c:pt idx="161">
                  <c:v>18451.45</c:v>
                </c:pt>
                <c:pt idx="162">
                  <c:v>11052.54</c:v>
                </c:pt>
                <c:pt idx="163">
                  <c:v>8579.5400000000009</c:v>
                </c:pt>
                <c:pt idx="164">
                  <c:v>10632.89</c:v>
                </c:pt>
                <c:pt idx="165">
                  <c:v>15741.64</c:v>
                </c:pt>
                <c:pt idx="166">
                  <c:v>30816.51</c:v>
                </c:pt>
                <c:pt idx="167">
                  <c:v>25301.34</c:v>
                </c:pt>
                <c:pt idx="168">
                  <c:v>24682.639999999999</c:v>
                </c:pt>
                <c:pt idx="169">
                  <c:v>22510.2</c:v>
                </c:pt>
                <c:pt idx="170">
                  <c:v>19743.22</c:v>
                </c:pt>
                <c:pt idx="171">
                  <c:v>13725.7</c:v>
                </c:pt>
                <c:pt idx="172">
                  <c:v>12943.02</c:v>
                </c:pt>
                <c:pt idx="173">
                  <c:v>15952.19</c:v>
                </c:pt>
                <c:pt idx="174">
                  <c:v>18648.8</c:v>
                </c:pt>
                <c:pt idx="175">
                  <c:v>20721.189999999999</c:v>
                </c:pt>
                <c:pt idx="176">
                  <c:v>13892.82</c:v>
                </c:pt>
                <c:pt idx="177">
                  <c:v>16570.16</c:v>
                </c:pt>
                <c:pt idx="178">
                  <c:v>15224.51</c:v>
                </c:pt>
                <c:pt idx="179">
                  <c:v>18051.61</c:v>
                </c:pt>
                <c:pt idx="180">
                  <c:v>17641.54</c:v>
                </c:pt>
                <c:pt idx="181">
                  <c:v>25451.57</c:v>
                </c:pt>
                <c:pt idx="182">
                  <c:v>29710.34</c:v>
                </c:pt>
                <c:pt idx="183">
                  <c:v>22539.75</c:v>
                </c:pt>
                <c:pt idx="184">
                  <c:v>18018.349999999999</c:v>
                </c:pt>
                <c:pt idx="185">
                  <c:v>21809.51</c:v>
                </c:pt>
                <c:pt idx="186">
                  <c:v>14724.85</c:v>
                </c:pt>
                <c:pt idx="187">
                  <c:v>14349.19</c:v>
                </c:pt>
                <c:pt idx="188">
                  <c:v>15468.11</c:v>
                </c:pt>
                <c:pt idx="189">
                  <c:v>25498.76</c:v>
                </c:pt>
                <c:pt idx="190">
                  <c:v>21500.799999999999</c:v>
                </c:pt>
                <c:pt idx="191">
                  <c:v>19141.400000000001</c:v>
                </c:pt>
                <c:pt idx="192">
                  <c:v>14693.77</c:v>
                </c:pt>
                <c:pt idx="193">
                  <c:v>15824.47</c:v>
                </c:pt>
                <c:pt idx="194">
                  <c:v>23377.040000000001</c:v>
                </c:pt>
                <c:pt idx="195">
                  <c:v>20800.23</c:v>
                </c:pt>
                <c:pt idx="196">
                  <c:v>30513.61</c:v>
                </c:pt>
                <c:pt idx="197">
                  <c:v>23393.599999999999</c:v>
                </c:pt>
                <c:pt idx="198">
                  <c:v>20784.439999999999</c:v>
                </c:pt>
                <c:pt idx="199">
                  <c:v>16972.8</c:v>
                </c:pt>
                <c:pt idx="200">
                  <c:v>22689.94</c:v>
                </c:pt>
                <c:pt idx="201">
                  <c:v>20293.12</c:v>
                </c:pt>
                <c:pt idx="202">
                  <c:v>21950.720000000001</c:v>
                </c:pt>
                <c:pt idx="203">
                  <c:v>28476.97</c:v>
                </c:pt>
                <c:pt idx="204">
                  <c:v>18025.63</c:v>
                </c:pt>
                <c:pt idx="205">
                  <c:v>12505.11</c:v>
                </c:pt>
                <c:pt idx="206">
                  <c:v>16287.73</c:v>
                </c:pt>
                <c:pt idx="207">
                  <c:v>15387.75</c:v>
                </c:pt>
                <c:pt idx="208">
                  <c:v>19158.84</c:v>
                </c:pt>
                <c:pt idx="209">
                  <c:v>22322.28</c:v>
                </c:pt>
                <c:pt idx="210">
                  <c:v>18541.57</c:v>
                </c:pt>
                <c:pt idx="211">
                  <c:v>16218.05</c:v>
                </c:pt>
                <c:pt idx="212">
                  <c:v>16207.36</c:v>
                </c:pt>
                <c:pt idx="213">
                  <c:v>13352.12</c:v>
                </c:pt>
                <c:pt idx="214">
                  <c:v>15703.03</c:v>
                </c:pt>
                <c:pt idx="215">
                  <c:v>18854.240000000002</c:v>
                </c:pt>
                <c:pt idx="216">
                  <c:v>18342.990000000002</c:v>
                </c:pt>
                <c:pt idx="217">
                  <c:v>26831.1</c:v>
                </c:pt>
                <c:pt idx="218">
                  <c:v>19503.75</c:v>
                </c:pt>
                <c:pt idx="219">
                  <c:v>14976.55</c:v>
                </c:pt>
                <c:pt idx="220">
                  <c:v>13064.68</c:v>
                </c:pt>
                <c:pt idx="221">
                  <c:v>19057.86</c:v>
                </c:pt>
                <c:pt idx="222">
                  <c:v>23385.61</c:v>
                </c:pt>
                <c:pt idx="223">
                  <c:v>24295.07</c:v>
                </c:pt>
                <c:pt idx="224">
                  <c:v>21235.47</c:v>
                </c:pt>
                <c:pt idx="225">
                  <c:v>19302.59</c:v>
                </c:pt>
                <c:pt idx="226">
                  <c:v>16186.02</c:v>
                </c:pt>
                <c:pt idx="227">
                  <c:v>16536.41</c:v>
                </c:pt>
                <c:pt idx="228">
                  <c:v>17445.939999999999</c:v>
                </c:pt>
                <c:pt idx="229">
                  <c:v>18487.34</c:v>
                </c:pt>
                <c:pt idx="230">
                  <c:v>19963.25</c:v>
                </c:pt>
                <c:pt idx="231">
                  <c:v>25916.13</c:v>
                </c:pt>
                <c:pt idx="232">
                  <c:v>17618.900000000001</c:v>
                </c:pt>
                <c:pt idx="233">
                  <c:v>17006.060000000001</c:v>
                </c:pt>
                <c:pt idx="234">
                  <c:v>15136.2</c:v>
                </c:pt>
                <c:pt idx="235">
                  <c:v>17966.310000000001</c:v>
                </c:pt>
                <c:pt idx="236">
                  <c:v>16495.79</c:v>
                </c:pt>
                <c:pt idx="237">
                  <c:v>19567.490000000002</c:v>
                </c:pt>
                <c:pt idx="238">
                  <c:v>24751.59</c:v>
                </c:pt>
                <c:pt idx="239">
                  <c:v>19246.57</c:v>
                </c:pt>
                <c:pt idx="240">
                  <c:v>17092.169999999998</c:v>
                </c:pt>
                <c:pt idx="241">
                  <c:v>15091.97</c:v>
                </c:pt>
                <c:pt idx="242">
                  <c:v>20334.77</c:v>
                </c:pt>
                <c:pt idx="243">
                  <c:v>20646.11</c:v>
                </c:pt>
                <c:pt idx="244">
                  <c:v>22282.66</c:v>
                </c:pt>
                <c:pt idx="245">
                  <c:v>26604.73</c:v>
                </c:pt>
                <c:pt idx="246">
                  <c:v>17848.71</c:v>
                </c:pt>
                <c:pt idx="247">
                  <c:v>14695.84</c:v>
                </c:pt>
                <c:pt idx="248">
                  <c:v>18310.09</c:v>
                </c:pt>
                <c:pt idx="249">
                  <c:v>17174.02</c:v>
                </c:pt>
                <c:pt idx="250">
                  <c:v>17255.900000000001</c:v>
                </c:pt>
                <c:pt idx="251">
                  <c:v>20511.21</c:v>
                </c:pt>
                <c:pt idx="252">
                  <c:v>24431.85</c:v>
                </c:pt>
                <c:pt idx="253">
                  <c:v>22149.93</c:v>
                </c:pt>
                <c:pt idx="254">
                  <c:v>22064.97</c:v>
                </c:pt>
                <c:pt idx="255">
                  <c:v>21948.14</c:v>
                </c:pt>
                <c:pt idx="256">
                  <c:v>22564.16</c:v>
                </c:pt>
                <c:pt idx="257">
                  <c:v>21483.51</c:v>
                </c:pt>
                <c:pt idx="258">
                  <c:v>21666.98</c:v>
                </c:pt>
                <c:pt idx="259">
                  <c:v>27972.89</c:v>
                </c:pt>
                <c:pt idx="260">
                  <c:v>21367.58</c:v>
                </c:pt>
                <c:pt idx="261">
                  <c:v>19303.669999999998</c:v>
                </c:pt>
                <c:pt idx="262">
                  <c:v>18706.05</c:v>
                </c:pt>
                <c:pt idx="263">
                  <c:v>21513</c:v>
                </c:pt>
                <c:pt idx="264">
                  <c:v>19807.18</c:v>
                </c:pt>
                <c:pt idx="265">
                  <c:v>23613.53</c:v>
                </c:pt>
                <c:pt idx="266">
                  <c:v>33043.949999999997</c:v>
                </c:pt>
                <c:pt idx="267">
                  <c:v>23619.360000000001</c:v>
                </c:pt>
                <c:pt idx="268">
                  <c:v>21071.88</c:v>
                </c:pt>
                <c:pt idx="269">
                  <c:v>21298.959999999999</c:v>
                </c:pt>
                <c:pt idx="270">
                  <c:v>23784.799999999999</c:v>
                </c:pt>
                <c:pt idx="271">
                  <c:v>18618.25</c:v>
                </c:pt>
                <c:pt idx="272">
                  <c:v>26046.71</c:v>
                </c:pt>
                <c:pt idx="273">
                  <c:v>26065.360000000001</c:v>
                </c:pt>
                <c:pt idx="274">
                  <c:v>27451.47</c:v>
                </c:pt>
                <c:pt idx="275">
                  <c:v>20725.87</c:v>
                </c:pt>
                <c:pt idx="276">
                  <c:v>22404.76</c:v>
                </c:pt>
                <c:pt idx="277">
                  <c:v>21278.35</c:v>
                </c:pt>
                <c:pt idx="278">
                  <c:v>23306.639999999999</c:v>
                </c:pt>
                <c:pt idx="279">
                  <c:v>24681.4</c:v>
                </c:pt>
                <c:pt idx="280">
                  <c:v>24393.45</c:v>
                </c:pt>
                <c:pt idx="281">
                  <c:v>20234.259999999998</c:v>
                </c:pt>
                <c:pt idx="282">
                  <c:v>20213.310000000001</c:v>
                </c:pt>
                <c:pt idx="283">
                  <c:v>18677.740000000002</c:v>
                </c:pt>
                <c:pt idx="284">
                  <c:v>19163.72</c:v>
                </c:pt>
                <c:pt idx="285">
                  <c:v>18602.759999999998</c:v>
                </c:pt>
                <c:pt idx="286">
                  <c:v>20699.05</c:v>
                </c:pt>
                <c:pt idx="287">
                  <c:v>32820.28</c:v>
                </c:pt>
                <c:pt idx="288">
                  <c:v>23392.79</c:v>
                </c:pt>
                <c:pt idx="289">
                  <c:v>20404.27</c:v>
                </c:pt>
                <c:pt idx="290">
                  <c:v>18973.45</c:v>
                </c:pt>
                <c:pt idx="291">
                  <c:v>23156.78</c:v>
                </c:pt>
                <c:pt idx="292">
                  <c:v>16434.25</c:v>
                </c:pt>
                <c:pt idx="293">
                  <c:v>20984.74</c:v>
                </c:pt>
                <c:pt idx="294">
                  <c:v>20250.669999999998</c:v>
                </c:pt>
                <c:pt idx="295">
                  <c:v>23857.89</c:v>
                </c:pt>
                <c:pt idx="296">
                  <c:v>18869.240000000002</c:v>
                </c:pt>
                <c:pt idx="297">
                  <c:v>16469.84</c:v>
                </c:pt>
                <c:pt idx="298">
                  <c:v>16754.55</c:v>
                </c:pt>
                <c:pt idx="299">
                  <c:v>15074.56</c:v>
                </c:pt>
                <c:pt idx="300">
                  <c:v>19277.34</c:v>
                </c:pt>
                <c:pt idx="301">
                  <c:v>22356.74</c:v>
                </c:pt>
                <c:pt idx="302">
                  <c:v>22083.07</c:v>
                </c:pt>
                <c:pt idx="303">
                  <c:v>18770.05</c:v>
                </c:pt>
                <c:pt idx="304">
                  <c:v>19046.91</c:v>
                </c:pt>
                <c:pt idx="305">
                  <c:v>23670.53</c:v>
                </c:pt>
                <c:pt idx="306">
                  <c:v>21430.93</c:v>
                </c:pt>
                <c:pt idx="307">
                  <c:v>20843.990000000002</c:v>
                </c:pt>
                <c:pt idx="308">
                  <c:v>26004.74</c:v>
                </c:pt>
                <c:pt idx="309">
                  <c:v>23312.13</c:v>
                </c:pt>
                <c:pt idx="310">
                  <c:v>20079.830000000002</c:v>
                </c:pt>
                <c:pt idx="311">
                  <c:v>20362.560000000001</c:v>
                </c:pt>
                <c:pt idx="312">
                  <c:v>17723.36</c:v>
                </c:pt>
                <c:pt idx="313">
                  <c:v>15622.5</c:v>
                </c:pt>
                <c:pt idx="314">
                  <c:v>21139.77</c:v>
                </c:pt>
                <c:pt idx="315">
                  <c:v>27717.83</c:v>
                </c:pt>
                <c:pt idx="316">
                  <c:v>18406.400000000001</c:v>
                </c:pt>
                <c:pt idx="317">
                  <c:v>16092.34</c:v>
                </c:pt>
                <c:pt idx="318">
                  <c:v>17337.650000000001</c:v>
                </c:pt>
                <c:pt idx="319">
                  <c:v>20213.45</c:v>
                </c:pt>
                <c:pt idx="320">
                  <c:v>20013.86</c:v>
                </c:pt>
                <c:pt idx="321">
                  <c:v>21275.78</c:v>
                </c:pt>
                <c:pt idx="322">
                  <c:v>24354.15</c:v>
                </c:pt>
                <c:pt idx="323">
                  <c:v>25860.85</c:v>
                </c:pt>
                <c:pt idx="324">
                  <c:v>20825.990000000002</c:v>
                </c:pt>
                <c:pt idx="325">
                  <c:v>19964.32</c:v>
                </c:pt>
                <c:pt idx="326">
                  <c:v>21340.83</c:v>
                </c:pt>
                <c:pt idx="327">
                  <c:v>20972.44</c:v>
                </c:pt>
                <c:pt idx="328">
                  <c:v>22306.85</c:v>
                </c:pt>
                <c:pt idx="329">
                  <c:v>25349.02</c:v>
                </c:pt>
                <c:pt idx="330">
                  <c:v>22696.12</c:v>
                </c:pt>
                <c:pt idx="331">
                  <c:v>15978.09</c:v>
                </c:pt>
                <c:pt idx="332">
                  <c:v>17436.46</c:v>
                </c:pt>
                <c:pt idx="333">
                  <c:v>16321.84</c:v>
                </c:pt>
                <c:pt idx="334">
                  <c:v>20305</c:v>
                </c:pt>
                <c:pt idx="335">
                  <c:v>25578.17</c:v>
                </c:pt>
                <c:pt idx="336">
                  <c:v>29145.13</c:v>
                </c:pt>
                <c:pt idx="337">
                  <c:v>27869.58</c:v>
                </c:pt>
                <c:pt idx="338">
                  <c:v>24449.55</c:v>
                </c:pt>
                <c:pt idx="339">
                  <c:v>17599.580000000002</c:v>
                </c:pt>
                <c:pt idx="340">
                  <c:v>18018.46</c:v>
                </c:pt>
                <c:pt idx="341">
                  <c:v>17586.68</c:v>
                </c:pt>
                <c:pt idx="342">
                  <c:v>23905.11</c:v>
                </c:pt>
                <c:pt idx="343">
                  <c:v>24258.47</c:v>
                </c:pt>
                <c:pt idx="344">
                  <c:v>25037.27</c:v>
                </c:pt>
                <c:pt idx="345">
                  <c:v>20716.810000000001</c:v>
                </c:pt>
                <c:pt idx="346">
                  <c:v>16930.37</c:v>
                </c:pt>
                <c:pt idx="347">
                  <c:v>17308.78</c:v>
                </c:pt>
                <c:pt idx="348">
                  <c:v>20118.87</c:v>
                </c:pt>
                <c:pt idx="349">
                  <c:v>24932.31</c:v>
                </c:pt>
                <c:pt idx="350">
                  <c:v>28770.42</c:v>
                </c:pt>
                <c:pt idx="351">
                  <c:v>25351.01</c:v>
                </c:pt>
                <c:pt idx="352">
                  <c:v>20215.96</c:v>
                </c:pt>
                <c:pt idx="353">
                  <c:v>17363.349999999999</c:v>
                </c:pt>
                <c:pt idx="354">
                  <c:v>19548.54</c:v>
                </c:pt>
                <c:pt idx="355">
                  <c:v>17682.330000000002</c:v>
                </c:pt>
                <c:pt idx="356">
                  <c:v>18745.330000000002</c:v>
                </c:pt>
                <c:pt idx="357">
                  <c:v>29639.22</c:v>
                </c:pt>
                <c:pt idx="358">
                  <c:v>25426.93</c:v>
                </c:pt>
                <c:pt idx="359">
                  <c:v>20853.22</c:v>
                </c:pt>
                <c:pt idx="360">
                  <c:v>18639.73</c:v>
                </c:pt>
                <c:pt idx="361">
                  <c:v>19712.14</c:v>
                </c:pt>
                <c:pt idx="362">
                  <c:v>17940.46</c:v>
                </c:pt>
                <c:pt idx="363">
                  <c:v>20797.71</c:v>
                </c:pt>
                <c:pt idx="364">
                  <c:v>27055.75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55199408"/>
        <c:axId val="-955192880"/>
      </c:line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vid Cases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#,##0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1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1</c:v>
                </c:pt>
                <c:pt idx="86">
                  <c:v>0</c:v>
                </c:pt>
                <c:pt idx="87">
                  <c:v>3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1</c:v>
                </c:pt>
                <c:pt idx="92">
                  <c:v>1</c:v>
                </c:pt>
                <c:pt idx="93">
                  <c:v>1</c:v>
                </c:pt>
                <c:pt idx="94">
                  <c:v>3</c:v>
                </c:pt>
                <c:pt idx="95">
                  <c:v>0</c:v>
                </c:pt>
                <c:pt idx="96">
                  <c:v>0</c:v>
                </c:pt>
                <c:pt idx="97">
                  <c:v>1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1</c:v>
                </c:pt>
                <c:pt idx="103">
                  <c:v>0</c:v>
                </c:pt>
                <c:pt idx="104">
                  <c:v>1</c:v>
                </c:pt>
                <c:pt idx="105">
                  <c:v>1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1</c:v>
                </c:pt>
                <c:pt idx="113">
                  <c:v>19</c:v>
                </c:pt>
                <c:pt idx="114">
                  <c:v>0</c:v>
                </c:pt>
                <c:pt idx="115">
                  <c:v>0</c:v>
                </c:pt>
                <c:pt idx="116">
                  <c:v>18</c:v>
                </c:pt>
                <c:pt idx="117">
                  <c:v>0</c:v>
                </c:pt>
                <c:pt idx="118">
                  <c:v>6</c:v>
                </c:pt>
                <c:pt idx="119">
                  <c:v>1</c:v>
                </c:pt>
                <c:pt idx="120">
                  <c:v>6</c:v>
                </c:pt>
                <c:pt idx="121">
                  <c:v>3</c:v>
                </c:pt>
                <c:pt idx="122">
                  <c:v>20</c:v>
                </c:pt>
                <c:pt idx="123">
                  <c:v>14</c:v>
                </c:pt>
                <c:pt idx="124">
                  <c:v>22</c:v>
                </c:pt>
                <c:pt idx="125">
                  <c:v>34</c:v>
                </c:pt>
                <c:pt idx="126">
                  <c:v>74</c:v>
                </c:pt>
                <c:pt idx="127">
                  <c:v>105</c:v>
                </c:pt>
                <c:pt idx="128">
                  <c:v>95</c:v>
                </c:pt>
                <c:pt idx="129">
                  <c:v>121</c:v>
                </c:pt>
                <c:pt idx="130">
                  <c:v>200</c:v>
                </c:pt>
                <c:pt idx="131">
                  <c:v>271</c:v>
                </c:pt>
                <c:pt idx="132">
                  <c:v>287</c:v>
                </c:pt>
                <c:pt idx="133">
                  <c:v>351</c:v>
                </c:pt>
                <c:pt idx="134">
                  <c:v>511</c:v>
                </c:pt>
                <c:pt idx="135">
                  <c:v>777</c:v>
                </c:pt>
                <c:pt idx="136">
                  <c:v>823</c:v>
                </c:pt>
                <c:pt idx="137">
                  <c:v>887</c:v>
                </c:pt>
                <c:pt idx="138">
                  <c:v>1766</c:v>
                </c:pt>
                <c:pt idx="139">
                  <c:v>2988</c:v>
                </c:pt>
                <c:pt idx="140">
                  <c:v>4835</c:v>
                </c:pt>
                <c:pt idx="141">
                  <c:v>5374</c:v>
                </c:pt>
                <c:pt idx="142">
                  <c:v>7123</c:v>
                </c:pt>
                <c:pt idx="143">
                  <c:v>8459</c:v>
                </c:pt>
                <c:pt idx="144">
                  <c:v>11236</c:v>
                </c:pt>
                <c:pt idx="145">
                  <c:v>8789</c:v>
                </c:pt>
                <c:pt idx="146">
                  <c:v>13963</c:v>
                </c:pt>
                <c:pt idx="147">
                  <c:v>16797</c:v>
                </c:pt>
                <c:pt idx="148">
                  <c:v>18695</c:v>
                </c:pt>
                <c:pt idx="149">
                  <c:v>19979</c:v>
                </c:pt>
                <c:pt idx="150">
                  <c:v>18360</c:v>
                </c:pt>
                <c:pt idx="151">
                  <c:v>21595</c:v>
                </c:pt>
                <c:pt idx="152">
                  <c:v>24998</c:v>
                </c:pt>
                <c:pt idx="153">
                  <c:v>27103</c:v>
                </c:pt>
                <c:pt idx="154">
                  <c:v>28819</c:v>
                </c:pt>
                <c:pt idx="155">
                  <c:v>32425</c:v>
                </c:pt>
                <c:pt idx="156">
                  <c:v>34272</c:v>
                </c:pt>
                <c:pt idx="157">
                  <c:v>25398</c:v>
                </c:pt>
                <c:pt idx="158">
                  <c:v>30561</c:v>
                </c:pt>
                <c:pt idx="159">
                  <c:v>30613</c:v>
                </c:pt>
                <c:pt idx="160">
                  <c:v>33323</c:v>
                </c:pt>
                <c:pt idx="161">
                  <c:v>33901</c:v>
                </c:pt>
                <c:pt idx="162">
                  <c:v>35527</c:v>
                </c:pt>
                <c:pt idx="163">
                  <c:v>28391</c:v>
                </c:pt>
                <c:pt idx="164">
                  <c:v>27620</c:v>
                </c:pt>
                <c:pt idx="165">
                  <c:v>25023</c:v>
                </c:pt>
                <c:pt idx="166">
                  <c:v>26922</c:v>
                </c:pt>
                <c:pt idx="167">
                  <c:v>30148</c:v>
                </c:pt>
                <c:pt idx="168">
                  <c:v>31667</c:v>
                </c:pt>
                <c:pt idx="169">
                  <c:v>30833</c:v>
                </c:pt>
                <c:pt idx="170">
                  <c:v>32922</c:v>
                </c:pt>
                <c:pt idx="171">
                  <c:v>24601</c:v>
                </c:pt>
                <c:pt idx="172">
                  <c:v>28065</c:v>
                </c:pt>
                <c:pt idx="173">
                  <c:v>37289</c:v>
                </c:pt>
                <c:pt idx="174">
                  <c:v>17588</c:v>
                </c:pt>
                <c:pt idx="175">
                  <c:v>26543</c:v>
                </c:pt>
                <c:pt idx="176">
                  <c:v>21352</c:v>
                </c:pt>
                <c:pt idx="177">
                  <c:v>48529</c:v>
                </c:pt>
                <c:pt idx="178">
                  <c:v>26857</c:v>
                </c:pt>
                <c:pt idx="179">
                  <c:v>22541</c:v>
                </c:pt>
                <c:pt idx="180">
                  <c:v>24132</c:v>
                </c:pt>
                <c:pt idx="181">
                  <c:v>27326</c:v>
                </c:pt>
                <c:pt idx="182">
                  <c:v>29917</c:v>
                </c:pt>
                <c:pt idx="183">
                  <c:v>33955</c:v>
                </c:pt>
                <c:pt idx="184">
                  <c:v>29288</c:v>
                </c:pt>
                <c:pt idx="185">
                  <c:v>24972</c:v>
                </c:pt>
                <c:pt idx="186">
                  <c:v>22593</c:v>
                </c:pt>
                <c:pt idx="187">
                  <c:v>23841</c:v>
                </c:pt>
                <c:pt idx="188">
                  <c:v>24128</c:v>
                </c:pt>
                <c:pt idx="189">
                  <c:v>28369</c:v>
                </c:pt>
                <c:pt idx="190">
                  <c:v>26957</c:v>
                </c:pt>
                <c:pt idx="191">
                  <c:v>25612</c:v>
                </c:pt>
                <c:pt idx="192">
                  <c:v>20258</c:v>
                </c:pt>
                <c:pt idx="193">
                  <c:v>18117</c:v>
                </c:pt>
                <c:pt idx="194">
                  <c:v>22048</c:v>
                </c:pt>
                <c:pt idx="195">
                  <c:v>20782</c:v>
                </c:pt>
                <c:pt idx="196">
                  <c:v>27143</c:v>
                </c:pt>
                <c:pt idx="197">
                  <c:v>25508</c:v>
                </c:pt>
                <c:pt idx="198">
                  <c:v>24487</c:v>
                </c:pt>
                <c:pt idx="199">
                  <c:v>18873</c:v>
                </c:pt>
                <c:pt idx="200">
                  <c:v>21841</c:v>
                </c:pt>
                <c:pt idx="201">
                  <c:v>19970</c:v>
                </c:pt>
                <c:pt idx="202">
                  <c:v>23285</c:v>
                </c:pt>
                <c:pt idx="203">
                  <c:v>25434</c:v>
                </c:pt>
                <c:pt idx="204">
                  <c:v>24147</c:v>
                </c:pt>
                <c:pt idx="205">
                  <c:v>21236</c:v>
                </c:pt>
                <c:pt idx="206">
                  <c:v>20568</c:v>
                </c:pt>
                <c:pt idx="207">
                  <c:v>19064</c:v>
                </c:pt>
                <c:pt idx="208">
                  <c:v>18910</c:v>
                </c:pt>
                <c:pt idx="209">
                  <c:v>18721</c:v>
                </c:pt>
                <c:pt idx="210">
                  <c:v>21817</c:v>
                </c:pt>
                <c:pt idx="211">
                  <c:v>25337</c:v>
                </c:pt>
                <c:pt idx="212">
                  <c:v>23297</c:v>
                </c:pt>
                <c:pt idx="213">
                  <c:v>19807</c:v>
                </c:pt>
                <c:pt idx="214">
                  <c:v>21086</c:v>
                </c:pt>
                <c:pt idx="215">
                  <c:v>20544</c:v>
                </c:pt>
                <c:pt idx="216">
                  <c:v>19699</c:v>
                </c:pt>
                <c:pt idx="217">
                  <c:v>21140</c:v>
                </c:pt>
                <c:pt idx="218">
                  <c:v>25178</c:v>
                </c:pt>
                <c:pt idx="219">
                  <c:v>22223</c:v>
                </c:pt>
                <c:pt idx="220">
                  <c:v>22302</c:v>
                </c:pt>
                <c:pt idx="221">
                  <c:v>18822</c:v>
                </c:pt>
                <c:pt idx="222">
                  <c:v>18665</c:v>
                </c:pt>
                <c:pt idx="223">
                  <c:v>20614</c:v>
                </c:pt>
                <c:pt idx="224">
                  <c:v>22883</c:v>
                </c:pt>
                <c:pt idx="225">
                  <c:v>25639</c:v>
                </c:pt>
                <c:pt idx="226">
                  <c:v>25540</c:v>
                </c:pt>
                <c:pt idx="227">
                  <c:v>19543</c:v>
                </c:pt>
                <c:pt idx="228">
                  <c:v>19957</c:v>
                </c:pt>
                <c:pt idx="229">
                  <c:v>23705</c:v>
                </c:pt>
                <c:pt idx="230">
                  <c:v>25559</c:v>
                </c:pt>
                <c:pt idx="231">
                  <c:v>27762</c:v>
                </c:pt>
                <c:pt idx="232">
                  <c:v>29909</c:v>
                </c:pt>
                <c:pt idx="233">
                  <c:v>34158</c:v>
                </c:pt>
                <c:pt idx="234">
                  <c:v>25793</c:v>
                </c:pt>
                <c:pt idx="235">
                  <c:v>31390</c:v>
                </c:pt>
                <c:pt idx="236">
                  <c:v>34720</c:v>
                </c:pt>
                <c:pt idx="237">
                  <c:v>34339</c:v>
                </c:pt>
                <c:pt idx="238">
                  <c:v>40949</c:v>
                </c:pt>
                <c:pt idx="239">
                  <c:v>45527</c:v>
                </c:pt>
                <c:pt idx="240">
                  <c:v>42486</c:v>
                </c:pt>
                <c:pt idx="241">
                  <c:v>38673</c:v>
                </c:pt>
                <c:pt idx="242">
                  <c:v>41556</c:v>
                </c:pt>
                <c:pt idx="243">
                  <c:v>43880</c:v>
                </c:pt>
                <c:pt idx="244">
                  <c:v>52048</c:v>
                </c:pt>
                <c:pt idx="245">
                  <c:v>53399</c:v>
                </c:pt>
                <c:pt idx="246">
                  <c:v>54442</c:v>
                </c:pt>
                <c:pt idx="247">
                  <c:v>45221</c:v>
                </c:pt>
                <c:pt idx="248">
                  <c:v>49093</c:v>
                </c:pt>
                <c:pt idx="249">
                  <c:v>49990</c:v>
                </c:pt>
                <c:pt idx="250">
                  <c:v>57473</c:v>
                </c:pt>
                <c:pt idx="251">
                  <c:v>58906</c:v>
                </c:pt>
                <c:pt idx="252">
                  <c:v>63004</c:v>
                </c:pt>
                <c:pt idx="253">
                  <c:v>66625</c:v>
                </c:pt>
                <c:pt idx="254">
                  <c:v>63051</c:v>
                </c:pt>
                <c:pt idx="255">
                  <c:v>57258</c:v>
                </c:pt>
                <c:pt idx="256">
                  <c:v>58114</c:v>
                </c:pt>
                <c:pt idx="257">
                  <c:v>68518</c:v>
                </c:pt>
                <c:pt idx="258">
                  <c:v>67717</c:v>
                </c:pt>
                <c:pt idx="259">
                  <c:v>76930</c:v>
                </c:pt>
                <c:pt idx="260">
                  <c:v>71494</c:v>
                </c:pt>
                <c:pt idx="261">
                  <c:v>63749</c:v>
                </c:pt>
                <c:pt idx="262">
                  <c:v>61796</c:v>
                </c:pt>
                <c:pt idx="263">
                  <c:v>56750</c:v>
                </c:pt>
                <c:pt idx="264">
                  <c:v>72048</c:v>
                </c:pt>
                <c:pt idx="265">
                  <c:v>68848</c:v>
                </c:pt>
                <c:pt idx="266">
                  <c:v>63196</c:v>
                </c:pt>
                <c:pt idx="267">
                  <c:v>78427</c:v>
                </c:pt>
                <c:pt idx="268">
                  <c:v>65498</c:v>
                </c:pt>
                <c:pt idx="269">
                  <c:v>55993</c:v>
                </c:pt>
                <c:pt idx="270">
                  <c:v>56243</c:v>
                </c:pt>
                <c:pt idx="271">
                  <c:v>61734</c:v>
                </c:pt>
                <c:pt idx="272">
                  <c:v>74985</c:v>
                </c:pt>
                <c:pt idx="273">
                  <c:v>68032</c:v>
                </c:pt>
                <c:pt idx="274">
                  <c:v>67023</c:v>
                </c:pt>
                <c:pt idx="275">
                  <c:v>58407</c:v>
                </c:pt>
                <c:pt idx="276">
                  <c:v>47511</c:v>
                </c:pt>
                <c:pt idx="277">
                  <c:v>45607</c:v>
                </c:pt>
                <c:pt idx="278">
                  <c:v>57525</c:v>
                </c:pt>
                <c:pt idx="279">
                  <c:v>52804</c:v>
                </c:pt>
                <c:pt idx="280">
                  <c:v>59755</c:v>
                </c:pt>
                <c:pt idx="281">
                  <c:v>58150</c:v>
                </c:pt>
                <c:pt idx="282">
                  <c:v>56221</c:v>
                </c:pt>
                <c:pt idx="283">
                  <c:v>46847</c:v>
                </c:pt>
                <c:pt idx="284">
                  <c:v>49530</c:v>
                </c:pt>
                <c:pt idx="285">
                  <c:v>46813</c:v>
                </c:pt>
                <c:pt idx="286">
                  <c:v>55941</c:v>
                </c:pt>
                <c:pt idx="287">
                  <c:v>51094</c:v>
                </c:pt>
                <c:pt idx="288">
                  <c:v>64838</c:v>
                </c:pt>
                <c:pt idx="289">
                  <c:v>48085</c:v>
                </c:pt>
                <c:pt idx="290">
                  <c:v>42104</c:v>
                </c:pt>
                <c:pt idx="291">
                  <c:v>35056</c:v>
                </c:pt>
                <c:pt idx="292">
                  <c:v>44091</c:v>
                </c:pt>
                <c:pt idx="293">
                  <c:v>47426</c:v>
                </c:pt>
                <c:pt idx="294">
                  <c:v>44005</c:v>
                </c:pt>
                <c:pt idx="295">
                  <c:v>49880</c:v>
                </c:pt>
                <c:pt idx="296">
                  <c:v>44378</c:v>
                </c:pt>
                <c:pt idx="297">
                  <c:v>34506</c:v>
                </c:pt>
                <c:pt idx="298">
                  <c:v>38298</c:v>
                </c:pt>
                <c:pt idx="299">
                  <c:v>38119</c:v>
                </c:pt>
                <c:pt idx="300">
                  <c:v>42848</c:v>
                </c:pt>
                <c:pt idx="301">
                  <c:v>45909</c:v>
                </c:pt>
                <c:pt idx="302">
                  <c:v>49654</c:v>
                </c:pt>
                <c:pt idx="303">
                  <c:v>44143</c:v>
                </c:pt>
                <c:pt idx="304">
                  <c:v>35581</c:v>
                </c:pt>
                <c:pt idx="305">
                  <c:v>33850</c:v>
                </c:pt>
                <c:pt idx="306">
                  <c:v>44639</c:v>
                </c:pt>
                <c:pt idx="307">
                  <c:v>38754</c:v>
                </c:pt>
                <c:pt idx="308">
                  <c:v>36249</c:v>
                </c:pt>
                <c:pt idx="309">
                  <c:v>51071</c:v>
                </c:pt>
                <c:pt idx="310">
                  <c:v>44140</c:v>
                </c:pt>
                <c:pt idx="311">
                  <c:v>30555</c:v>
                </c:pt>
                <c:pt idx="312">
                  <c:v>24250</c:v>
                </c:pt>
                <c:pt idx="313">
                  <c:v>27122</c:v>
                </c:pt>
                <c:pt idx="314">
                  <c:v>31927</c:v>
                </c:pt>
                <c:pt idx="315">
                  <c:v>37507</c:v>
                </c:pt>
                <c:pt idx="316">
                  <c:v>48061</c:v>
                </c:pt>
                <c:pt idx="317">
                  <c:v>40820</c:v>
                </c:pt>
                <c:pt idx="318">
                  <c:v>33871</c:v>
                </c:pt>
                <c:pt idx="319">
                  <c:v>34841</c:v>
                </c:pt>
                <c:pt idx="320">
                  <c:v>51473</c:v>
                </c:pt>
                <c:pt idx="321">
                  <c:v>24598</c:v>
                </c:pt>
                <c:pt idx="322">
                  <c:v>43567</c:v>
                </c:pt>
                <c:pt idx="323">
                  <c:v>50209</c:v>
                </c:pt>
                <c:pt idx="324">
                  <c:v>40295</c:v>
                </c:pt>
                <c:pt idx="325">
                  <c:v>39852</c:v>
                </c:pt>
                <c:pt idx="326">
                  <c:v>53153</c:v>
                </c:pt>
                <c:pt idx="327">
                  <c:v>38307</c:v>
                </c:pt>
                <c:pt idx="328">
                  <c:v>37930</c:v>
                </c:pt>
                <c:pt idx="329">
                  <c:v>44213</c:v>
                </c:pt>
                <c:pt idx="330">
                  <c:v>55013</c:v>
                </c:pt>
                <c:pt idx="331">
                  <c:v>45368</c:v>
                </c:pt>
                <c:pt idx="332">
                  <c:v>36248</c:v>
                </c:pt>
                <c:pt idx="333">
                  <c:v>32998</c:v>
                </c:pt>
                <c:pt idx="334">
                  <c:v>43017</c:v>
                </c:pt>
                <c:pt idx="335">
                  <c:v>41982</c:v>
                </c:pt>
                <c:pt idx="336">
                  <c:v>44771</c:v>
                </c:pt>
                <c:pt idx="337">
                  <c:v>54471</c:v>
                </c:pt>
                <c:pt idx="338">
                  <c:v>50659</c:v>
                </c:pt>
                <c:pt idx="339">
                  <c:v>34901</c:v>
                </c:pt>
                <c:pt idx="340">
                  <c:v>40705</c:v>
                </c:pt>
                <c:pt idx="341">
                  <c:v>43062</c:v>
                </c:pt>
                <c:pt idx="342">
                  <c:v>48182</c:v>
                </c:pt>
                <c:pt idx="343">
                  <c:v>56800</c:v>
                </c:pt>
                <c:pt idx="344">
                  <c:v>58082</c:v>
                </c:pt>
                <c:pt idx="345">
                  <c:v>54271</c:v>
                </c:pt>
                <c:pt idx="346">
                  <c:v>43597</c:v>
                </c:pt>
                <c:pt idx="347">
                  <c:v>41653</c:v>
                </c:pt>
                <c:pt idx="348">
                  <c:v>52517</c:v>
                </c:pt>
                <c:pt idx="349">
                  <c:v>59386</c:v>
                </c:pt>
                <c:pt idx="350">
                  <c:v>63785</c:v>
                </c:pt>
                <c:pt idx="351">
                  <c:v>70256</c:v>
                </c:pt>
                <c:pt idx="352">
                  <c:v>56611</c:v>
                </c:pt>
                <c:pt idx="353">
                  <c:v>47843</c:v>
                </c:pt>
                <c:pt idx="354">
                  <c:v>60160</c:v>
                </c:pt>
                <c:pt idx="355">
                  <c:v>58549</c:v>
                </c:pt>
                <c:pt idx="356">
                  <c:v>62978</c:v>
                </c:pt>
                <c:pt idx="357">
                  <c:v>72058</c:v>
                </c:pt>
                <c:pt idx="358">
                  <c:v>85329</c:v>
                </c:pt>
                <c:pt idx="359">
                  <c:v>83056</c:v>
                </c:pt>
                <c:pt idx="360">
                  <c:v>59440</c:v>
                </c:pt>
                <c:pt idx="361">
                  <c:v>68359</c:v>
                </c:pt>
                <c:pt idx="362">
                  <c:v>75129</c:v>
                </c:pt>
                <c:pt idx="363">
                  <c:v>78371</c:v>
                </c:pt>
                <c:pt idx="364">
                  <c:v>88130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BF89-40D0-B852-2043576E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45048623"/>
        <c:axId val="1845051535"/>
      </c:lineChart>
      <c:dateAx>
        <c:axId val="-955199408"/>
        <c:scaling>
          <c:orientation val="minMax"/>
        </c:scaling>
        <c:delete val="0"/>
        <c:axPos val="b"/>
        <c:numFmt formatCode="d\-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2880"/>
        <c:crosses val="autoZero"/>
        <c:auto val="0"/>
        <c:lblOffset val="100"/>
        <c:baseTimeUnit val="days"/>
      </c:dateAx>
      <c:valAx>
        <c:axId val="-9551928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Revenue (in USD)</a:t>
                </a:r>
                <a:endParaRPr lang="en-IN" b="1"/>
              </a:p>
            </c:rich>
          </c:tx>
          <c:layout>
            <c:manualLayout>
              <c:xMode val="edge"/>
              <c:yMode val="edge"/>
              <c:x val="1.7067833942136307E-2"/>
              <c:y val="0.214663826403764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55199408"/>
        <c:crosses val="autoZero"/>
        <c:crossBetween val="between"/>
      </c:valAx>
      <c:valAx>
        <c:axId val="1845051535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 i="0" kern="1200" baseline="0" dirty="0">
                    <a:solidFill>
                      <a:srgbClr val="000000"/>
                    </a:solidFill>
                    <a:effectLst/>
                  </a:rPr>
                  <a:t>No. Of  </a:t>
                </a:r>
                <a:r>
                  <a:rPr lang="en-GB" sz="1000" b="1" i="0" kern="1200" baseline="0" dirty="0" err="1">
                    <a:solidFill>
                      <a:srgbClr val="000000"/>
                    </a:solidFill>
                    <a:effectLst/>
                  </a:rPr>
                  <a:t>Covid</a:t>
                </a:r>
                <a:r>
                  <a:rPr lang="en-GB" sz="1000" b="1" i="0" kern="1200" baseline="0" dirty="0">
                    <a:solidFill>
                      <a:srgbClr val="000000"/>
                    </a:solidFill>
                    <a:effectLst/>
                  </a:rPr>
                  <a:t> Cas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5048623"/>
        <c:crosses val="max"/>
        <c:crossBetween val="between"/>
      </c:valAx>
      <c:dateAx>
        <c:axId val="1845048623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845051535"/>
        <c:crosses val="autoZero"/>
        <c:auto val="1"/>
        <c:lblOffset val="100"/>
        <c:baseTimeUnit val="days"/>
        <c:majorUnit val="1"/>
        <c:minorUnit val="1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677907955522532"/>
          <c:y val="0.89640992560702837"/>
          <c:w val="0.26644184088954936"/>
          <c:h val="6.44093085870944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084140748493834E-2"/>
          <c:y val="0.37970922595003609"/>
          <c:w val="0.95330138756512439"/>
          <c:h val="0.20690851536557914"/>
        </c:manualLayout>
      </c:layout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1583341456"/>
        <c:axId val="-1583346352"/>
      </c:barChart>
      <c:catAx>
        <c:axId val="-15833414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-1583346352"/>
        <c:crosses val="autoZero"/>
        <c:auto val="1"/>
        <c:lblAlgn val="ctr"/>
        <c:lblOffset val="100"/>
        <c:noMultiLvlLbl val="0"/>
      </c:catAx>
      <c:valAx>
        <c:axId val="-15833463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15833414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play Network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General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50769</c:v>
                </c:pt>
                <c:pt idx="107">
                  <c:v>65044</c:v>
                </c:pt>
                <c:pt idx="108">
                  <c:v>38722</c:v>
                </c:pt>
                <c:pt idx="109">
                  <c:v>33979</c:v>
                </c:pt>
                <c:pt idx="110">
                  <c:v>32650</c:v>
                </c:pt>
                <c:pt idx="111">
                  <c:v>20888</c:v>
                </c:pt>
                <c:pt idx="112">
                  <c:v>23123</c:v>
                </c:pt>
                <c:pt idx="113">
                  <c:v>102803</c:v>
                </c:pt>
                <c:pt idx="114">
                  <c:v>34703</c:v>
                </c:pt>
                <c:pt idx="115">
                  <c:v>73310</c:v>
                </c:pt>
                <c:pt idx="116">
                  <c:v>47243</c:v>
                </c:pt>
                <c:pt idx="117">
                  <c:v>273704</c:v>
                </c:pt>
                <c:pt idx="118">
                  <c:v>96930</c:v>
                </c:pt>
                <c:pt idx="119">
                  <c:v>334057</c:v>
                </c:pt>
                <c:pt idx="120">
                  <c:v>1379161</c:v>
                </c:pt>
                <c:pt idx="121">
                  <c:v>601560</c:v>
                </c:pt>
                <c:pt idx="122">
                  <c:v>363047</c:v>
                </c:pt>
                <c:pt idx="123">
                  <c:v>1198496</c:v>
                </c:pt>
                <c:pt idx="124">
                  <c:v>1134114</c:v>
                </c:pt>
                <c:pt idx="125">
                  <c:v>1067271</c:v>
                </c:pt>
                <c:pt idx="126">
                  <c:v>2290899</c:v>
                </c:pt>
                <c:pt idx="127">
                  <c:v>315365</c:v>
                </c:pt>
                <c:pt idx="128">
                  <c:v>180879</c:v>
                </c:pt>
                <c:pt idx="129">
                  <c:v>572966</c:v>
                </c:pt>
                <c:pt idx="130">
                  <c:v>2364760</c:v>
                </c:pt>
                <c:pt idx="131">
                  <c:v>4278426</c:v>
                </c:pt>
                <c:pt idx="132">
                  <c:v>1619614</c:v>
                </c:pt>
                <c:pt idx="133">
                  <c:v>794907</c:v>
                </c:pt>
                <c:pt idx="134">
                  <c:v>819589</c:v>
                </c:pt>
                <c:pt idx="135">
                  <c:v>1548341</c:v>
                </c:pt>
                <c:pt idx="136">
                  <c:v>1500040</c:v>
                </c:pt>
                <c:pt idx="137">
                  <c:v>256918</c:v>
                </c:pt>
                <c:pt idx="138">
                  <c:v>120128</c:v>
                </c:pt>
                <c:pt idx="139">
                  <c:v>102810</c:v>
                </c:pt>
                <c:pt idx="140">
                  <c:v>225683</c:v>
                </c:pt>
                <c:pt idx="141">
                  <c:v>302065</c:v>
                </c:pt>
                <c:pt idx="142">
                  <c:v>165158</c:v>
                </c:pt>
                <c:pt idx="143">
                  <c:v>59118</c:v>
                </c:pt>
                <c:pt idx="144">
                  <c:v>84278</c:v>
                </c:pt>
                <c:pt idx="145">
                  <c:v>45021</c:v>
                </c:pt>
                <c:pt idx="146">
                  <c:v>46851</c:v>
                </c:pt>
                <c:pt idx="147">
                  <c:v>78738</c:v>
                </c:pt>
                <c:pt idx="148">
                  <c:v>67637</c:v>
                </c:pt>
                <c:pt idx="149">
                  <c:v>833820</c:v>
                </c:pt>
                <c:pt idx="150">
                  <c:v>1184964</c:v>
                </c:pt>
                <c:pt idx="151">
                  <c:v>752871</c:v>
                </c:pt>
                <c:pt idx="152">
                  <c:v>714436</c:v>
                </c:pt>
                <c:pt idx="153">
                  <c:v>742895</c:v>
                </c:pt>
                <c:pt idx="154">
                  <c:v>1006999</c:v>
                </c:pt>
                <c:pt idx="155">
                  <c:v>633875</c:v>
                </c:pt>
                <c:pt idx="156">
                  <c:v>143829</c:v>
                </c:pt>
                <c:pt idx="157">
                  <c:v>280735</c:v>
                </c:pt>
                <c:pt idx="158">
                  <c:v>472207</c:v>
                </c:pt>
                <c:pt idx="159">
                  <c:v>162182</c:v>
                </c:pt>
                <c:pt idx="160">
                  <c:v>114965</c:v>
                </c:pt>
                <c:pt idx="161">
                  <c:v>236692</c:v>
                </c:pt>
                <c:pt idx="162">
                  <c:v>706929</c:v>
                </c:pt>
                <c:pt idx="163">
                  <c:v>649528</c:v>
                </c:pt>
                <c:pt idx="164">
                  <c:v>277329</c:v>
                </c:pt>
                <c:pt idx="165">
                  <c:v>756661</c:v>
                </c:pt>
                <c:pt idx="166">
                  <c:v>232153</c:v>
                </c:pt>
                <c:pt idx="167">
                  <c:v>144697</c:v>
                </c:pt>
                <c:pt idx="168">
                  <c:v>259984</c:v>
                </c:pt>
                <c:pt idx="169">
                  <c:v>429346</c:v>
                </c:pt>
                <c:pt idx="170">
                  <c:v>407711</c:v>
                </c:pt>
                <c:pt idx="171">
                  <c:v>207324</c:v>
                </c:pt>
                <c:pt idx="172">
                  <c:v>221619</c:v>
                </c:pt>
                <c:pt idx="173">
                  <c:v>227637</c:v>
                </c:pt>
                <c:pt idx="174">
                  <c:v>118754</c:v>
                </c:pt>
                <c:pt idx="175">
                  <c:v>191930</c:v>
                </c:pt>
                <c:pt idx="176">
                  <c:v>114871</c:v>
                </c:pt>
                <c:pt idx="177">
                  <c:v>264251</c:v>
                </c:pt>
                <c:pt idx="178">
                  <c:v>220454</c:v>
                </c:pt>
                <c:pt idx="179">
                  <c:v>474983</c:v>
                </c:pt>
                <c:pt idx="180">
                  <c:v>390896</c:v>
                </c:pt>
                <c:pt idx="181">
                  <c:v>544603</c:v>
                </c:pt>
                <c:pt idx="182">
                  <c:v>163066</c:v>
                </c:pt>
                <c:pt idx="183">
                  <c:v>120686</c:v>
                </c:pt>
                <c:pt idx="184">
                  <c:v>78008</c:v>
                </c:pt>
                <c:pt idx="185">
                  <c:v>109545</c:v>
                </c:pt>
                <c:pt idx="186">
                  <c:v>100505</c:v>
                </c:pt>
                <c:pt idx="187">
                  <c:v>180045</c:v>
                </c:pt>
                <c:pt idx="188">
                  <c:v>109284</c:v>
                </c:pt>
                <c:pt idx="189">
                  <c:v>143973</c:v>
                </c:pt>
                <c:pt idx="190">
                  <c:v>126691</c:v>
                </c:pt>
                <c:pt idx="191">
                  <c:v>170404</c:v>
                </c:pt>
                <c:pt idx="192">
                  <c:v>163829</c:v>
                </c:pt>
                <c:pt idx="193">
                  <c:v>199541</c:v>
                </c:pt>
                <c:pt idx="194">
                  <c:v>114277</c:v>
                </c:pt>
                <c:pt idx="195">
                  <c:v>391804</c:v>
                </c:pt>
                <c:pt idx="196">
                  <c:v>615234</c:v>
                </c:pt>
                <c:pt idx="197">
                  <c:v>264790</c:v>
                </c:pt>
                <c:pt idx="198">
                  <c:v>1730158</c:v>
                </c:pt>
                <c:pt idx="199">
                  <c:v>1024218</c:v>
                </c:pt>
                <c:pt idx="200">
                  <c:v>536296</c:v>
                </c:pt>
                <c:pt idx="201">
                  <c:v>676920</c:v>
                </c:pt>
                <c:pt idx="202">
                  <c:v>789956</c:v>
                </c:pt>
                <c:pt idx="203">
                  <c:v>1540113</c:v>
                </c:pt>
                <c:pt idx="204">
                  <c:v>957556</c:v>
                </c:pt>
                <c:pt idx="205">
                  <c:v>625076</c:v>
                </c:pt>
                <c:pt idx="206">
                  <c:v>750150</c:v>
                </c:pt>
                <c:pt idx="207">
                  <c:v>745309</c:v>
                </c:pt>
                <c:pt idx="208">
                  <c:v>624202</c:v>
                </c:pt>
                <c:pt idx="209">
                  <c:v>615725</c:v>
                </c:pt>
                <c:pt idx="210">
                  <c:v>203306</c:v>
                </c:pt>
                <c:pt idx="211">
                  <c:v>331543</c:v>
                </c:pt>
                <c:pt idx="212">
                  <c:v>237355</c:v>
                </c:pt>
                <c:pt idx="213">
                  <c:v>388009</c:v>
                </c:pt>
                <c:pt idx="214">
                  <c:v>617917</c:v>
                </c:pt>
                <c:pt idx="215">
                  <c:v>213103</c:v>
                </c:pt>
                <c:pt idx="216">
                  <c:v>234194</c:v>
                </c:pt>
                <c:pt idx="217">
                  <c:v>253605</c:v>
                </c:pt>
                <c:pt idx="218">
                  <c:v>138696</c:v>
                </c:pt>
                <c:pt idx="219">
                  <c:v>483881</c:v>
                </c:pt>
                <c:pt idx="220">
                  <c:v>266902</c:v>
                </c:pt>
                <c:pt idx="221">
                  <c:v>203197</c:v>
                </c:pt>
                <c:pt idx="222">
                  <c:v>167543</c:v>
                </c:pt>
                <c:pt idx="223">
                  <c:v>106326</c:v>
                </c:pt>
                <c:pt idx="224">
                  <c:v>150498</c:v>
                </c:pt>
                <c:pt idx="225">
                  <c:v>216401</c:v>
                </c:pt>
                <c:pt idx="226">
                  <c:v>195038</c:v>
                </c:pt>
                <c:pt idx="227">
                  <c:v>212274</c:v>
                </c:pt>
                <c:pt idx="228">
                  <c:v>126378</c:v>
                </c:pt>
                <c:pt idx="229">
                  <c:v>143008</c:v>
                </c:pt>
                <c:pt idx="230">
                  <c:v>120419</c:v>
                </c:pt>
                <c:pt idx="231">
                  <c:v>178638</c:v>
                </c:pt>
                <c:pt idx="232">
                  <c:v>203262</c:v>
                </c:pt>
                <c:pt idx="233">
                  <c:v>225868</c:v>
                </c:pt>
                <c:pt idx="234">
                  <c:v>131390</c:v>
                </c:pt>
                <c:pt idx="235">
                  <c:v>151441</c:v>
                </c:pt>
                <c:pt idx="236">
                  <c:v>116845</c:v>
                </c:pt>
                <c:pt idx="237">
                  <c:v>131063</c:v>
                </c:pt>
                <c:pt idx="238">
                  <c:v>141247</c:v>
                </c:pt>
                <c:pt idx="239">
                  <c:v>162613</c:v>
                </c:pt>
                <c:pt idx="240">
                  <c:v>109875</c:v>
                </c:pt>
                <c:pt idx="241">
                  <c:v>183502</c:v>
                </c:pt>
                <c:pt idx="242">
                  <c:v>194716</c:v>
                </c:pt>
                <c:pt idx="243">
                  <c:v>395375</c:v>
                </c:pt>
                <c:pt idx="244">
                  <c:v>531812</c:v>
                </c:pt>
                <c:pt idx="245">
                  <c:v>399947</c:v>
                </c:pt>
                <c:pt idx="246">
                  <c:v>401749</c:v>
                </c:pt>
                <c:pt idx="247">
                  <c:v>415437</c:v>
                </c:pt>
                <c:pt idx="248">
                  <c:v>318252</c:v>
                </c:pt>
                <c:pt idx="249">
                  <c:v>312863</c:v>
                </c:pt>
                <c:pt idx="250">
                  <c:v>311222</c:v>
                </c:pt>
                <c:pt idx="251">
                  <c:v>207533</c:v>
                </c:pt>
                <c:pt idx="252">
                  <c:v>751682</c:v>
                </c:pt>
                <c:pt idx="253">
                  <c:v>300245</c:v>
                </c:pt>
                <c:pt idx="254">
                  <c:v>156141</c:v>
                </c:pt>
                <c:pt idx="255">
                  <c:v>173577</c:v>
                </c:pt>
                <c:pt idx="256">
                  <c:v>123027</c:v>
                </c:pt>
                <c:pt idx="257">
                  <c:v>96338</c:v>
                </c:pt>
                <c:pt idx="258">
                  <c:v>74651</c:v>
                </c:pt>
                <c:pt idx="259">
                  <c:v>60467</c:v>
                </c:pt>
                <c:pt idx="260">
                  <c:v>62722</c:v>
                </c:pt>
                <c:pt idx="261">
                  <c:v>71420</c:v>
                </c:pt>
                <c:pt idx="262">
                  <c:v>103754</c:v>
                </c:pt>
                <c:pt idx="263">
                  <c:v>73133</c:v>
                </c:pt>
                <c:pt idx="264">
                  <c:v>81905</c:v>
                </c:pt>
                <c:pt idx="265">
                  <c:v>83408</c:v>
                </c:pt>
                <c:pt idx="266">
                  <c:v>111612</c:v>
                </c:pt>
                <c:pt idx="267">
                  <c:v>146927</c:v>
                </c:pt>
                <c:pt idx="268">
                  <c:v>152112</c:v>
                </c:pt>
                <c:pt idx="269">
                  <c:v>206517</c:v>
                </c:pt>
                <c:pt idx="270">
                  <c:v>191402</c:v>
                </c:pt>
                <c:pt idx="271">
                  <c:v>114740</c:v>
                </c:pt>
                <c:pt idx="272">
                  <c:v>121405</c:v>
                </c:pt>
                <c:pt idx="273">
                  <c:v>140431</c:v>
                </c:pt>
                <c:pt idx="274">
                  <c:v>137407</c:v>
                </c:pt>
                <c:pt idx="275">
                  <c:v>127486</c:v>
                </c:pt>
                <c:pt idx="276">
                  <c:v>109287</c:v>
                </c:pt>
                <c:pt idx="277">
                  <c:v>82937</c:v>
                </c:pt>
                <c:pt idx="278">
                  <c:v>114405</c:v>
                </c:pt>
                <c:pt idx="279">
                  <c:v>107670</c:v>
                </c:pt>
                <c:pt idx="280">
                  <c:v>117347</c:v>
                </c:pt>
                <c:pt idx="281">
                  <c:v>136913</c:v>
                </c:pt>
                <c:pt idx="282">
                  <c:v>105864</c:v>
                </c:pt>
                <c:pt idx="283">
                  <c:v>146906</c:v>
                </c:pt>
                <c:pt idx="284">
                  <c:v>160815</c:v>
                </c:pt>
                <c:pt idx="285">
                  <c:v>92756</c:v>
                </c:pt>
                <c:pt idx="286">
                  <c:v>83906</c:v>
                </c:pt>
                <c:pt idx="287">
                  <c:v>112534</c:v>
                </c:pt>
                <c:pt idx="288">
                  <c:v>109320</c:v>
                </c:pt>
                <c:pt idx="289">
                  <c:v>97191</c:v>
                </c:pt>
                <c:pt idx="290">
                  <c:v>114731</c:v>
                </c:pt>
                <c:pt idx="291">
                  <c:v>141213</c:v>
                </c:pt>
                <c:pt idx="292">
                  <c:v>151710</c:v>
                </c:pt>
                <c:pt idx="293">
                  <c:v>120558</c:v>
                </c:pt>
                <c:pt idx="294">
                  <c:v>75091</c:v>
                </c:pt>
                <c:pt idx="295">
                  <c:v>106819</c:v>
                </c:pt>
                <c:pt idx="296">
                  <c:v>205561</c:v>
                </c:pt>
                <c:pt idx="297">
                  <c:v>513938</c:v>
                </c:pt>
                <c:pt idx="298">
                  <c:v>474844</c:v>
                </c:pt>
                <c:pt idx="299">
                  <c:v>696321</c:v>
                </c:pt>
                <c:pt idx="300">
                  <c:v>775528</c:v>
                </c:pt>
                <c:pt idx="301">
                  <c:v>419422</c:v>
                </c:pt>
                <c:pt idx="302">
                  <c:v>420869</c:v>
                </c:pt>
                <c:pt idx="303">
                  <c:v>195379</c:v>
                </c:pt>
                <c:pt idx="304">
                  <c:v>190859</c:v>
                </c:pt>
                <c:pt idx="305">
                  <c:v>173205</c:v>
                </c:pt>
                <c:pt idx="306">
                  <c:v>238140</c:v>
                </c:pt>
                <c:pt idx="307">
                  <c:v>729578</c:v>
                </c:pt>
                <c:pt idx="308">
                  <c:v>1436919</c:v>
                </c:pt>
                <c:pt idx="309">
                  <c:v>815527</c:v>
                </c:pt>
                <c:pt idx="310">
                  <c:v>338997</c:v>
                </c:pt>
                <c:pt idx="311">
                  <c:v>184087</c:v>
                </c:pt>
                <c:pt idx="312">
                  <c:v>153933</c:v>
                </c:pt>
                <c:pt idx="313">
                  <c:v>118631</c:v>
                </c:pt>
                <c:pt idx="314">
                  <c:v>95850</c:v>
                </c:pt>
                <c:pt idx="315">
                  <c:v>179178</c:v>
                </c:pt>
                <c:pt idx="316">
                  <c:v>369159</c:v>
                </c:pt>
                <c:pt idx="317">
                  <c:v>191502</c:v>
                </c:pt>
                <c:pt idx="318">
                  <c:v>299307</c:v>
                </c:pt>
                <c:pt idx="319">
                  <c:v>1252658</c:v>
                </c:pt>
                <c:pt idx="320">
                  <c:v>1979872</c:v>
                </c:pt>
                <c:pt idx="321">
                  <c:v>1033976</c:v>
                </c:pt>
                <c:pt idx="322">
                  <c:v>930107</c:v>
                </c:pt>
                <c:pt idx="323">
                  <c:v>508832</c:v>
                </c:pt>
                <c:pt idx="324">
                  <c:v>168463</c:v>
                </c:pt>
                <c:pt idx="325">
                  <c:v>441958</c:v>
                </c:pt>
                <c:pt idx="326">
                  <c:v>1446397</c:v>
                </c:pt>
                <c:pt idx="327">
                  <c:v>980961</c:v>
                </c:pt>
                <c:pt idx="328">
                  <c:v>285632</c:v>
                </c:pt>
                <c:pt idx="329">
                  <c:v>219426</c:v>
                </c:pt>
                <c:pt idx="330">
                  <c:v>271652</c:v>
                </c:pt>
                <c:pt idx="331">
                  <c:v>339869</c:v>
                </c:pt>
                <c:pt idx="332">
                  <c:v>516855</c:v>
                </c:pt>
                <c:pt idx="333">
                  <c:v>318478</c:v>
                </c:pt>
                <c:pt idx="334">
                  <c:v>707410</c:v>
                </c:pt>
                <c:pt idx="335">
                  <c:v>801398</c:v>
                </c:pt>
                <c:pt idx="336">
                  <c:v>1187827</c:v>
                </c:pt>
                <c:pt idx="337">
                  <c:v>828885</c:v>
                </c:pt>
                <c:pt idx="338">
                  <c:v>231894</c:v>
                </c:pt>
                <c:pt idx="339">
                  <c:v>148455</c:v>
                </c:pt>
                <c:pt idx="340">
                  <c:v>102290</c:v>
                </c:pt>
                <c:pt idx="341">
                  <c:v>108819</c:v>
                </c:pt>
                <c:pt idx="342">
                  <c:v>102936</c:v>
                </c:pt>
                <c:pt idx="343">
                  <c:v>146320</c:v>
                </c:pt>
                <c:pt idx="344">
                  <c:v>207394</c:v>
                </c:pt>
                <c:pt idx="345">
                  <c:v>358721</c:v>
                </c:pt>
                <c:pt idx="346">
                  <c:v>746413</c:v>
                </c:pt>
                <c:pt idx="347">
                  <c:v>701601</c:v>
                </c:pt>
                <c:pt idx="348">
                  <c:v>278131</c:v>
                </c:pt>
                <c:pt idx="349">
                  <c:v>415032</c:v>
                </c:pt>
                <c:pt idx="350">
                  <c:v>118556</c:v>
                </c:pt>
                <c:pt idx="351">
                  <c:v>142030</c:v>
                </c:pt>
                <c:pt idx="352">
                  <c:v>153497</c:v>
                </c:pt>
                <c:pt idx="353">
                  <c:v>116631</c:v>
                </c:pt>
                <c:pt idx="354">
                  <c:v>306226</c:v>
                </c:pt>
                <c:pt idx="355">
                  <c:v>299509</c:v>
                </c:pt>
                <c:pt idx="356">
                  <c:v>314330</c:v>
                </c:pt>
                <c:pt idx="357">
                  <c:v>338289</c:v>
                </c:pt>
                <c:pt idx="358">
                  <c:v>522952</c:v>
                </c:pt>
                <c:pt idx="359">
                  <c:v>339972</c:v>
                </c:pt>
                <c:pt idx="360">
                  <c:v>629061</c:v>
                </c:pt>
                <c:pt idx="361">
                  <c:v>378103</c:v>
                </c:pt>
                <c:pt idx="362">
                  <c:v>151261</c:v>
                </c:pt>
                <c:pt idx="363">
                  <c:v>124519</c:v>
                </c:pt>
                <c:pt idx="364">
                  <c:v>1410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B4-4ECD-8A43-BFFD4F1E8E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07512160"/>
        <c:axId val="1607511328"/>
      </c:barChart>
      <c:dateAx>
        <c:axId val="160751216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7511328"/>
        <c:crosses val="autoZero"/>
        <c:auto val="1"/>
        <c:lblOffset val="100"/>
        <c:baseTimeUnit val="days"/>
      </c:dateAx>
      <c:valAx>
        <c:axId val="16075113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07512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acebook Impression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General</c:formatCode>
                <c:ptCount val="365"/>
                <c:pt idx="0">
                  <c:v>36332</c:v>
                </c:pt>
                <c:pt idx="1">
                  <c:v>34776</c:v>
                </c:pt>
                <c:pt idx="2">
                  <c:v>29154</c:v>
                </c:pt>
                <c:pt idx="3">
                  <c:v>32946</c:v>
                </c:pt>
                <c:pt idx="4">
                  <c:v>26208</c:v>
                </c:pt>
                <c:pt idx="5">
                  <c:v>24298</c:v>
                </c:pt>
                <c:pt idx="6">
                  <c:v>20346</c:v>
                </c:pt>
                <c:pt idx="7">
                  <c:v>23496</c:v>
                </c:pt>
                <c:pt idx="8">
                  <c:v>31644</c:v>
                </c:pt>
                <c:pt idx="9">
                  <c:v>22206</c:v>
                </c:pt>
                <c:pt idx="10">
                  <c:v>29922</c:v>
                </c:pt>
                <c:pt idx="11">
                  <c:v>27946</c:v>
                </c:pt>
                <c:pt idx="12">
                  <c:v>16252</c:v>
                </c:pt>
                <c:pt idx="13">
                  <c:v>13584</c:v>
                </c:pt>
                <c:pt idx="14">
                  <c:v>20746</c:v>
                </c:pt>
                <c:pt idx="15">
                  <c:v>22290</c:v>
                </c:pt>
                <c:pt idx="16">
                  <c:v>17818</c:v>
                </c:pt>
                <c:pt idx="17">
                  <c:v>18064</c:v>
                </c:pt>
                <c:pt idx="18">
                  <c:v>18150</c:v>
                </c:pt>
                <c:pt idx="19">
                  <c:v>16416</c:v>
                </c:pt>
                <c:pt idx="20">
                  <c:v>21440</c:v>
                </c:pt>
                <c:pt idx="21">
                  <c:v>27954</c:v>
                </c:pt>
                <c:pt idx="22">
                  <c:v>28286</c:v>
                </c:pt>
                <c:pt idx="23">
                  <c:v>26860</c:v>
                </c:pt>
                <c:pt idx="24">
                  <c:v>25626</c:v>
                </c:pt>
                <c:pt idx="25">
                  <c:v>28286</c:v>
                </c:pt>
                <c:pt idx="26">
                  <c:v>27226</c:v>
                </c:pt>
                <c:pt idx="27">
                  <c:v>21284</c:v>
                </c:pt>
                <c:pt idx="28">
                  <c:v>30734</c:v>
                </c:pt>
                <c:pt idx="29">
                  <c:v>30296</c:v>
                </c:pt>
                <c:pt idx="30">
                  <c:v>23364</c:v>
                </c:pt>
                <c:pt idx="31">
                  <c:v>23872</c:v>
                </c:pt>
                <c:pt idx="32">
                  <c:v>24144</c:v>
                </c:pt>
                <c:pt idx="33">
                  <c:v>23464</c:v>
                </c:pt>
                <c:pt idx="34">
                  <c:v>26274</c:v>
                </c:pt>
                <c:pt idx="35">
                  <c:v>31058</c:v>
                </c:pt>
                <c:pt idx="36">
                  <c:v>29722</c:v>
                </c:pt>
                <c:pt idx="37">
                  <c:v>24238</c:v>
                </c:pt>
                <c:pt idx="38">
                  <c:v>31214</c:v>
                </c:pt>
                <c:pt idx="39">
                  <c:v>31814</c:v>
                </c:pt>
                <c:pt idx="40">
                  <c:v>29854</c:v>
                </c:pt>
                <c:pt idx="41">
                  <c:v>18422</c:v>
                </c:pt>
                <c:pt idx="42">
                  <c:v>28406</c:v>
                </c:pt>
                <c:pt idx="43">
                  <c:v>19472</c:v>
                </c:pt>
                <c:pt idx="44">
                  <c:v>14370</c:v>
                </c:pt>
                <c:pt idx="45">
                  <c:v>19712</c:v>
                </c:pt>
                <c:pt idx="46">
                  <c:v>16588</c:v>
                </c:pt>
                <c:pt idx="47">
                  <c:v>20196</c:v>
                </c:pt>
                <c:pt idx="48">
                  <c:v>19712</c:v>
                </c:pt>
                <c:pt idx="49">
                  <c:v>26572</c:v>
                </c:pt>
                <c:pt idx="50">
                  <c:v>33812</c:v>
                </c:pt>
                <c:pt idx="51">
                  <c:v>30160</c:v>
                </c:pt>
                <c:pt idx="52">
                  <c:v>27686</c:v>
                </c:pt>
                <c:pt idx="53">
                  <c:v>25900</c:v>
                </c:pt>
                <c:pt idx="54">
                  <c:v>30490</c:v>
                </c:pt>
                <c:pt idx="55">
                  <c:v>35138</c:v>
                </c:pt>
                <c:pt idx="56">
                  <c:v>31488</c:v>
                </c:pt>
                <c:pt idx="57">
                  <c:v>31002</c:v>
                </c:pt>
                <c:pt idx="58">
                  <c:v>28926</c:v>
                </c:pt>
                <c:pt idx="59">
                  <c:v>36640</c:v>
                </c:pt>
                <c:pt idx="60">
                  <c:v>37844</c:v>
                </c:pt>
                <c:pt idx="61">
                  <c:v>21948</c:v>
                </c:pt>
                <c:pt idx="62">
                  <c:v>27153</c:v>
                </c:pt>
                <c:pt idx="63">
                  <c:v>22671</c:v>
                </c:pt>
                <c:pt idx="64">
                  <c:v>23877</c:v>
                </c:pt>
                <c:pt idx="65">
                  <c:v>17528</c:v>
                </c:pt>
                <c:pt idx="66">
                  <c:v>20935</c:v>
                </c:pt>
                <c:pt idx="67">
                  <c:v>20170</c:v>
                </c:pt>
                <c:pt idx="68">
                  <c:v>18070</c:v>
                </c:pt>
                <c:pt idx="69">
                  <c:v>16665</c:v>
                </c:pt>
                <c:pt idx="70">
                  <c:v>19785</c:v>
                </c:pt>
                <c:pt idx="71">
                  <c:v>19499</c:v>
                </c:pt>
                <c:pt idx="72">
                  <c:v>23484</c:v>
                </c:pt>
                <c:pt idx="73">
                  <c:v>22532</c:v>
                </c:pt>
                <c:pt idx="74">
                  <c:v>19445</c:v>
                </c:pt>
                <c:pt idx="75">
                  <c:v>19747</c:v>
                </c:pt>
                <c:pt idx="76">
                  <c:v>22146</c:v>
                </c:pt>
                <c:pt idx="77">
                  <c:v>18098</c:v>
                </c:pt>
                <c:pt idx="78">
                  <c:v>19249</c:v>
                </c:pt>
                <c:pt idx="79">
                  <c:v>19606</c:v>
                </c:pt>
                <c:pt idx="80">
                  <c:v>19569</c:v>
                </c:pt>
                <c:pt idx="81">
                  <c:v>20788</c:v>
                </c:pt>
                <c:pt idx="82">
                  <c:v>17772</c:v>
                </c:pt>
                <c:pt idx="83">
                  <c:v>16509</c:v>
                </c:pt>
                <c:pt idx="84">
                  <c:v>15197</c:v>
                </c:pt>
                <c:pt idx="85">
                  <c:v>15752</c:v>
                </c:pt>
                <c:pt idx="86">
                  <c:v>13507</c:v>
                </c:pt>
                <c:pt idx="87">
                  <c:v>12902</c:v>
                </c:pt>
                <c:pt idx="88">
                  <c:v>13418</c:v>
                </c:pt>
                <c:pt idx="89">
                  <c:v>12772</c:v>
                </c:pt>
                <c:pt idx="90">
                  <c:v>9141</c:v>
                </c:pt>
                <c:pt idx="91">
                  <c:v>8424</c:v>
                </c:pt>
                <c:pt idx="92">
                  <c:v>8154</c:v>
                </c:pt>
                <c:pt idx="93">
                  <c:v>9042</c:v>
                </c:pt>
                <c:pt idx="94">
                  <c:v>11425</c:v>
                </c:pt>
                <c:pt idx="95">
                  <c:v>13270</c:v>
                </c:pt>
                <c:pt idx="96">
                  <c:v>15332</c:v>
                </c:pt>
                <c:pt idx="97">
                  <c:v>18058</c:v>
                </c:pt>
                <c:pt idx="98">
                  <c:v>17146</c:v>
                </c:pt>
                <c:pt idx="99">
                  <c:v>18116</c:v>
                </c:pt>
                <c:pt idx="100">
                  <c:v>15710</c:v>
                </c:pt>
                <c:pt idx="101">
                  <c:v>15489</c:v>
                </c:pt>
                <c:pt idx="102">
                  <c:v>16656</c:v>
                </c:pt>
                <c:pt idx="103">
                  <c:v>17765</c:v>
                </c:pt>
                <c:pt idx="104">
                  <c:v>16895</c:v>
                </c:pt>
                <c:pt idx="105">
                  <c:v>16301</c:v>
                </c:pt>
                <c:pt idx="106">
                  <c:v>15767</c:v>
                </c:pt>
                <c:pt idx="107">
                  <c:v>14149</c:v>
                </c:pt>
                <c:pt idx="108">
                  <c:v>14527</c:v>
                </c:pt>
                <c:pt idx="109">
                  <c:v>18794</c:v>
                </c:pt>
                <c:pt idx="110">
                  <c:v>19568</c:v>
                </c:pt>
                <c:pt idx="111">
                  <c:v>18242</c:v>
                </c:pt>
                <c:pt idx="112">
                  <c:v>17676</c:v>
                </c:pt>
                <c:pt idx="113">
                  <c:v>18843</c:v>
                </c:pt>
                <c:pt idx="114">
                  <c:v>13987</c:v>
                </c:pt>
                <c:pt idx="115">
                  <c:v>16548</c:v>
                </c:pt>
                <c:pt idx="116">
                  <c:v>12851</c:v>
                </c:pt>
                <c:pt idx="117">
                  <c:v>12051</c:v>
                </c:pt>
                <c:pt idx="118">
                  <c:v>12986</c:v>
                </c:pt>
                <c:pt idx="119">
                  <c:v>14284</c:v>
                </c:pt>
                <c:pt idx="120">
                  <c:v>12469</c:v>
                </c:pt>
                <c:pt idx="121">
                  <c:v>12958</c:v>
                </c:pt>
                <c:pt idx="122">
                  <c:v>20105</c:v>
                </c:pt>
                <c:pt idx="123">
                  <c:v>17171</c:v>
                </c:pt>
                <c:pt idx="124">
                  <c:v>17130</c:v>
                </c:pt>
                <c:pt idx="125">
                  <c:v>16992</c:v>
                </c:pt>
                <c:pt idx="126">
                  <c:v>17870</c:v>
                </c:pt>
                <c:pt idx="127">
                  <c:v>19311</c:v>
                </c:pt>
                <c:pt idx="128">
                  <c:v>18959</c:v>
                </c:pt>
                <c:pt idx="129">
                  <c:v>16979</c:v>
                </c:pt>
                <c:pt idx="130">
                  <c:v>15799</c:v>
                </c:pt>
                <c:pt idx="131">
                  <c:v>15904</c:v>
                </c:pt>
                <c:pt idx="132">
                  <c:v>16371</c:v>
                </c:pt>
                <c:pt idx="133">
                  <c:v>16124</c:v>
                </c:pt>
                <c:pt idx="134">
                  <c:v>20206</c:v>
                </c:pt>
                <c:pt idx="135">
                  <c:v>16922</c:v>
                </c:pt>
                <c:pt idx="136">
                  <c:v>18316</c:v>
                </c:pt>
                <c:pt idx="137">
                  <c:v>22552</c:v>
                </c:pt>
                <c:pt idx="138">
                  <c:v>23849</c:v>
                </c:pt>
                <c:pt idx="139">
                  <c:v>26935</c:v>
                </c:pt>
                <c:pt idx="140">
                  <c:v>33390</c:v>
                </c:pt>
                <c:pt idx="141">
                  <c:v>37736</c:v>
                </c:pt>
                <c:pt idx="142">
                  <c:v>23266</c:v>
                </c:pt>
                <c:pt idx="143">
                  <c:v>25390</c:v>
                </c:pt>
                <c:pt idx="144">
                  <c:v>25184</c:v>
                </c:pt>
                <c:pt idx="145">
                  <c:v>34446</c:v>
                </c:pt>
                <c:pt idx="146">
                  <c:v>29400</c:v>
                </c:pt>
                <c:pt idx="147">
                  <c:v>26317</c:v>
                </c:pt>
                <c:pt idx="148">
                  <c:v>24047</c:v>
                </c:pt>
                <c:pt idx="149">
                  <c:v>26332</c:v>
                </c:pt>
                <c:pt idx="150">
                  <c:v>24620</c:v>
                </c:pt>
                <c:pt idx="151">
                  <c:v>24283</c:v>
                </c:pt>
                <c:pt idx="152">
                  <c:v>20901</c:v>
                </c:pt>
                <c:pt idx="153">
                  <c:v>18127</c:v>
                </c:pt>
                <c:pt idx="154">
                  <c:v>20100</c:v>
                </c:pt>
                <c:pt idx="155">
                  <c:v>17629</c:v>
                </c:pt>
                <c:pt idx="156">
                  <c:v>17238</c:v>
                </c:pt>
                <c:pt idx="157">
                  <c:v>20388</c:v>
                </c:pt>
                <c:pt idx="158">
                  <c:v>23287</c:v>
                </c:pt>
                <c:pt idx="159">
                  <c:v>22470</c:v>
                </c:pt>
                <c:pt idx="160">
                  <c:v>24080</c:v>
                </c:pt>
                <c:pt idx="161">
                  <c:v>22475</c:v>
                </c:pt>
                <c:pt idx="162">
                  <c:v>21178</c:v>
                </c:pt>
                <c:pt idx="163">
                  <c:v>22234</c:v>
                </c:pt>
                <c:pt idx="164">
                  <c:v>25838</c:v>
                </c:pt>
                <c:pt idx="165">
                  <c:v>23114</c:v>
                </c:pt>
                <c:pt idx="166">
                  <c:v>20666</c:v>
                </c:pt>
                <c:pt idx="167">
                  <c:v>21340</c:v>
                </c:pt>
                <c:pt idx="168">
                  <c:v>18651</c:v>
                </c:pt>
                <c:pt idx="169">
                  <c:v>17854</c:v>
                </c:pt>
                <c:pt idx="170">
                  <c:v>16565</c:v>
                </c:pt>
                <c:pt idx="171">
                  <c:v>21381</c:v>
                </c:pt>
                <c:pt idx="172">
                  <c:v>26968</c:v>
                </c:pt>
                <c:pt idx="173">
                  <c:v>29265</c:v>
                </c:pt>
                <c:pt idx="174">
                  <c:v>25924</c:v>
                </c:pt>
                <c:pt idx="175">
                  <c:v>26855</c:v>
                </c:pt>
                <c:pt idx="176">
                  <c:v>27480</c:v>
                </c:pt>
                <c:pt idx="177">
                  <c:v>21966</c:v>
                </c:pt>
                <c:pt idx="178">
                  <c:v>35087</c:v>
                </c:pt>
                <c:pt idx="179">
                  <c:v>80103</c:v>
                </c:pt>
                <c:pt idx="180">
                  <c:v>69599</c:v>
                </c:pt>
                <c:pt idx="181">
                  <c:v>62944</c:v>
                </c:pt>
                <c:pt idx="182">
                  <c:v>57323</c:v>
                </c:pt>
                <c:pt idx="183">
                  <c:v>63726</c:v>
                </c:pt>
                <c:pt idx="184">
                  <c:v>50284</c:v>
                </c:pt>
                <c:pt idx="185">
                  <c:v>51544</c:v>
                </c:pt>
                <c:pt idx="186">
                  <c:v>55042</c:v>
                </c:pt>
                <c:pt idx="187">
                  <c:v>64826</c:v>
                </c:pt>
                <c:pt idx="188">
                  <c:v>84126</c:v>
                </c:pt>
                <c:pt idx="189">
                  <c:v>84343</c:v>
                </c:pt>
                <c:pt idx="190">
                  <c:v>101773</c:v>
                </c:pt>
                <c:pt idx="191">
                  <c:v>88261</c:v>
                </c:pt>
                <c:pt idx="192">
                  <c:v>81791</c:v>
                </c:pt>
                <c:pt idx="193">
                  <c:v>93015</c:v>
                </c:pt>
                <c:pt idx="194">
                  <c:v>92398</c:v>
                </c:pt>
                <c:pt idx="195">
                  <c:v>95202</c:v>
                </c:pt>
                <c:pt idx="196">
                  <c:v>124096</c:v>
                </c:pt>
                <c:pt idx="197">
                  <c:v>129871</c:v>
                </c:pt>
                <c:pt idx="198">
                  <c:v>108175</c:v>
                </c:pt>
                <c:pt idx="199">
                  <c:v>138589</c:v>
                </c:pt>
                <c:pt idx="200">
                  <c:v>135870</c:v>
                </c:pt>
                <c:pt idx="201">
                  <c:v>108263</c:v>
                </c:pt>
                <c:pt idx="202">
                  <c:v>100809</c:v>
                </c:pt>
                <c:pt idx="203">
                  <c:v>120692</c:v>
                </c:pt>
                <c:pt idx="204">
                  <c:v>105298</c:v>
                </c:pt>
                <c:pt idx="205">
                  <c:v>87737</c:v>
                </c:pt>
                <c:pt idx="206">
                  <c:v>101884</c:v>
                </c:pt>
                <c:pt idx="207">
                  <c:v>99320</c:v>
                </c:pt>
                <c:pt idx="208">
                  <c:v>110229</c:v>
                </c:pt>
                <c:pt idx="209">
                  <c:v>96920</c:v>
                </c:pt>
                <c:pt idx="210">
                  <c:v>109508</c:v>
                </c:pt>
                <c:pt idx="211">
                  <c:v>111079</c:v>
                </c:pt>
                <c:pt idx="212">
                  <c:v>112331</c:v>
                </c:pt>
                <c:pt idx="213">
                  <c:v>130493</c:v>
                </c:pt>
                <c:pt idx="214">
                  <c:v>122331</c:v>
                </c:pt>
                <c:pt idx="215">
                  <c:v>130178</c:v>
                </c:pt>
                <c:pt idx="216">
                  <c:v>102802</c:v>
                </c:pt>
                <c:pt idx="217">
                  <c:v>132652</c:v>
                </c:pt>
                <c:pt idx="218">
                  <c:v>128960</c:v>
                </c:pt>
                <c:pt idx="219">
                  <c:v>141425</c:v>
                </c:pt>
                <c:pt idx="220">
                  <c:v>120045</c:v>
                </c:pt>
                <c:pt idx="221">
                  <c:v>131269</c:v>
                </c:pt>
                <c:pt idx="222">
                  <c:v>136212</c:v>
                </c:pt>
                <c:pt idx="223">
                  <c:v>119018</c:v>
                </c:pt>
                <c:pt idx="224">
                  <c:v>116301</c:v>
                </c:pt>
                <c:pt idx="225">
                  <c:v>109820</c:v>
                </c:pt>
                <c:pt idx="226">
                  <c:v>104248</c:v>
                </c:pt>
                <c:pt idx="227">
                  <c:v>101908</c:v>
                </c:pt>
                <c:pt idx="228">
                  <c:v>114377</c:v>
                </c:pt>
                <c:pt idx="229">
                  <c:v>122323</c:v>
                </c:pt>
                <c:pt idx="230">
                  <c:v>94506</c:v>
                </c:pt>
                <c:pt idx="231">
                  <c:v>104166</c:v>
                </c:pt>
                <c:pt idx="232">
                  <c:v>109045</c:v>
                </c:pt>
                <c:pt idx="233">
                  <c:v>109165</c:v>
                </c:pt>
                <c:pt idx="234">
                  <c:v>137341</c:v>
                </c:pt>
                <c:pt idx="235">
                  <c:v>130613</c:v>
                </c:pt>
                <c:pt idx="236">
                  <c:v>119573</c:v>
                </c:pt>
                <c:pt idx="237">
                  <c:v>118339</c:v>
                </c:pt>
                <c:pt idx="238">
                  <c:v>109890</c:v>
                </c:pt>
                <c:pt idx="239">
                  <c:v>134206</c:v>
                </c:pt>
                <c:pt idx="240">
                  <c:v>117175</c:v>
                </c:pt>
                <c:pt idx="241">
                  <c:v>130826</c:v>
                </c:pt>
                <c:pt idx="242">
                  <c:v>253059</c:v>
                </c:pt>
                <c:pt idx="243">
                  <c:v>161581</c:v>
                </c:pt>
                <c:pt idx="244">
                  <c:v>179264</c:v>
                </c:pt>
                <c:pt idx="245">
                  <c:v>204996</c:v>
                </c:pt>
                <c:pt idx="246">
                  <c:v>227376</c:v>
                </c:pt>
                <c:pt idx="247">
                  <c:v>205482</c:v>
                </c:pt>
                <c:pt idx="248">
                  <c:v>246688</c:v>
                </c:pt>
                <c:pt idx="249">
                  <c:v>243515</c:v>
                </c:pt>
                <c:pt idx="250">
                  <c:v>253767</c:v>
                </c:pt>
                <c:pt idx="251">
                  <c:v>165257</c:v>
                </c:pt>
                <c:pt idx="252">
                  <c:v>158524</c:v>
                </c:pt>
                <c:pt idx="253">
                  <c:v>149220</c:v>
                </c:pt>
                <c:pt idx="254">
                  <c:v>157030</c:v>
                </c:pt>
                <c:pt idx="255">
                  <c:v>179242</c:v>
                </c:pt>
                <c:pt idx="256">
                  <c:v>187562</c:v>
                </c:pt>
                <c:pt idx="257">
                  <c:v>157512</c:v>
                </c:pt>
                <c:pt idx="258">
                  <c:v>158465</c:v>
                </c:pt>
                <c:pt idx="259">
                  <c:v>156470</c:v>
                </c:pt>
                <c:pt idx="260">
                  <c:v>173921</c:v>
                </c:pt>
                <c:pt idx="261">
                  <c:v>197327</c:v>
                </c:pt>
                <c:pt idx="262">
                  <c:v>212557</c:v>
                </c:pt>
                <c:pt idx="263">
                  <c:v>185926</c:v>
                </c:pt>
                <c:pt idx="264">
                  <c:v>178201</c:v>
                </c:pt>
                <c:pt idx="265">
                  <c:v>174783</c:v>
                </c:pt>
                <c:pt idx="266">
                  <c:v>169692</c:v>
                </c:pt>
                <c:pt idx="267">
                  <c:v>179985</c:v>
                </c:pt>
                <c:pt idx="268">
                  <c:v>161942</c:v>
                </c:pt>
                <c:pt idx="269">
                  <c:v>160456</c:v>
                </c:pt>
                <c:pt idx="270">
                  <c:v>152393</c:v>
                </c:pt>
                <c:pt idx="271">
                  <c:v>130713</c:v>
                </c:pt>
                <c:pt idx="272">
                  <c:v>144945</c:v>
                </c:pt>
                <c:pt idx="273">
                  <c:v>160121</c:v>
                </c:pt>
                <c:pt idx="274">
                  <c:v>166746</c:v>
                </c:pt>
                <c:pt idx="275">
                  <c:v>177556</c:v>
                </c:pt>
                <c:pt idx="276">
                  <c:v>176544</c:v>
                </c:pt>
                <c:pt idx="277">
                  <c:v>144781</c:v>
                </c:pt>
                <c:pt idx="278">
                  <c:v>130475</c:v>
                </c:pt>
                <c:pt idx="279">
                  <c:v>116756</c:v>
                </c:pt>
                <c:pt idx="280">
                  <c:v>139761</c:v>
                </c:pt>
                <c:pt idx="281">
                  <c:v>153381</c:v>
                </c:pt>
                <c:pt idx="282">
                  <c:v>140727</c:v>
                </c:pt>
                <c:pt idx="283">
                  <c:v>148518</c:v>
                </c:pt>
                <c:pt idx="284">
                  <c:v>139081</c:v>
                </c:pt>
                <c:pt idx="285">
                  <c:v>143463</c:v>
                </c:pt>
                <c:pt idx="286">
                  <c:v>147224</c:v>
                </c:pt>
                <c:pt idx="287">
                  <c:v>140441</c:v>
                </c:pt>
                <c:pt idx="288">
                  <c:v>127822</c:v>
                </c:pt>
                <c:pt idx="289">
                  <c:v>136662</c:v>
                </c:pt>
                <c:pt idx="290">
                  <c:v>165284</c:v>
                </c:pt>
                <c:pt idx="291">
                  <c:v>151197</c:v>
                </c:pt>
                <c:pt idx="292">
                  <c:v>167109</c:v>
                </c:pt>
                <c:pt idx="293">
                  <c:v>171626</c:v>
                </c:pt>
                <c:pt idx="294">
                  <c:v>167818</c:v>
                </c:pt>
                <c:pt idx="295">
                  <c:v>167665</c:v>
                </c:pt>
                <c:pt idx="296">
                  <c:v>155855</c:v>
                </c:pt>
                <c:pt idx="297">
                  <c:v>148364</c:v>
                </c:pt>
                <c:pt idx="298">
                  <c:v>143768</c:v>
                </c:pt>
                <c:pt idx="299">
                  <c:v>148924</c:v>
                </c:pt>
                <c:pt idx="300">
                  <c:v>164509</c:v>
                </c:pt>
                <c:pt idx="301">
                  <c:v>195768</c:v>
                </c:pt>
                <c:pt idx="302">
                  <c:v>174610</c:v>
                </c:pt>
                <c:pt idx="303">
                  <c:v>172452</c:v>
                </c:pt>
                <c:pt idx="304">
                  <c:v>172751</c:v>
                </c:pt>
                <c:pt idx="305">
                  <c:v>172404</c:v>
                </c:pt>
                <c:pt idx="306">
                  <c:v>171851</c:v>
                </c:pt>
                <c:pt idx="307">
                  <c:v>184828</c:v>
                </c:pt>
                <c:pt idx="308">
                  <c:v>160882</c:v>
                </c:pt>
                <c:pt idx="309">
                  <c:v>159837</c:v>
                </c:pt>
                <c:pt idx="310">
                  <c:v>148417</c:v>
                </c:pt>
                <c:pt idx="311">
                  <c:v>145660</c:v>
                </c:pt>
                <c:pt idx="312">
                  <c:v>136491</c:v>
                </c:pt>
                <c:pt idx="313">
                  <c:v>147060</c:v>
                </c:pt>
                <c:pt idx="314">
                  <c:v>135074</c:v>
                </c:pt>
                <c:pt idx="315">
                  <c:v>107287</c:v>
                </c:pt>
                <c:pt idx="316">
                  <c:v>116167</c:v>
                </c:pt>
                <c:pt idx="317">
                  <c:v>114869</c:v>
                </c:pt>
                <c:pt idx="318">
                  <c:v>133826</c:v>
                </c:pt>
                <c:pt idx="319">
                  <c:v>148507</c:v>
                </c:pt>
                <c:pt idx="320">
                  <c:v>141834</c:v>
                </c:pt>
                <c:pt idx="321">
                  <c:v>130356</c:v>
                </c:pt>
                <c:pt idx="322">
                  <c:v>155866</c:v>
                </c:pt>
                <c:pt idx="323">
                  <c:v>131601</c:v>
                </c:pt>
                <c:pt idx="324">
                  <c:v>101243</c:v>
                </c:pt>
                <c:pt idx="325">
                  <c:v>109487</c:v>
                </c:pt>
                <c:pt idx="326">
                  <c:v>114594</c:v>
                </c:pt>
                <c:pt idx="327">
                  <c:v>115786</c:v>
                </c:pt>
                <c:pt idx="328">
                  <c:v>131637</c:v>
                </c:pt>
                <c:pt idx="329">
                  <c:v>133655</c:v>
                </c:pt>
                <c:pt idx="330">
                  <c:v>125390</c:v>
                </c:pt>
                <c:pt idx="331">
                  <c:v>108601</c:v>
                </c:pt>
                <c:pt idx="332">
                  <c:v>121183</c:v>
                </c:pt>
                <c:pt idx="333">
                  <c:v>128513</c:v>
                </c:pt>
                <c:pt idx="334">
                  <c:v>130272</c:v>
                </c:pt>
                <c:pt idx="335">
                  <c:v>113698</c:v>
                </c:pt>
                <c:pt idx="336">
                  <c:v>130115</c:v>
                </c:pt>
                <c:pt idx="337">
                  <c:v>117893</c:v>
                </c:pt>
                <c:pt idx="338">
                  <c:v>110468</c:v>
                </c:pt>
                <c:pt idx="339">
                  <c:v>127669</c:v>
                </c:pt>
                <c:pt idx="340">
                  <c:v>136025</c:v>
                </c:pt>
                <c:pt idx="341">
                  <c:v>129756</c:v>
                </c:pt>
                <c:pt idx="342">
                  <c:v>125000</c:v>
                </c:pt>
                <c:pt idx="343">
                  <c:v>103489</c:v>
                </c:pt>
                <c:pt idx="344">
                  <c:v>106071</c:v>
                </c:pt>
                <c:pt idx="345">
                  <c:v>107552</c:v>
                </c:pt>
                <c:pt idx="346">
                  <c:v>114642</c:v>
                </c:pt>
                <c:pt idx="347">
                  <c:v>121797</c:v>
                </c:pt>
                <c:pt idx="348">
                  <c:v>106853</c:v>
                </c:pt>
                <c:pt idx="349">
                  <c:v>102825</c:v>
                </c:pt>
                <c:pt idx="350">
                  <c:v>104176</c:v>
                </c:pt>
                <c:pt idx="351">
                  <c:v>91472</c:v>
                </c:pt>
                <c:pt idx="352">
                  <c:v>83290</c:v>
                </c:pt>
                <c:pt idx="353">
                  <c:v>83581</c:v>
                </c:pt>
                <c:pt idx="354">
                  <c:v>80178</c:v>
                </c:pt>
                <c:pt idx="355">
                  <c:v>80184</c:v>
                </c:pt>
                <c:pt idx="356">
                  <c:v>88453</c:v>
                </c:pt>
                <c:pt idx="357">
                  <c:v>96382</c:v>
                </c:pt>
                <c:pt idx="358">
                  <c:v>90424</c:v>
                </c:pt>
                <c:pt idx="359">
                  <c:v>88342</c:v>
                </c:pt>
                <c:pt idx="360">
                  <c:v>96129</c:v>
                </c:pt>
                <c:pt idx="361">
                  <c:v>107678</c:v>
                </c:pt>
                <c:pt idx="362">
                  <c:v>139210</c:v>
                </c:pt>
                <c:pt idx="363">
                  <c:v>102497</c:v>
                </c:pt>
                <c:pt idx="364">
                  <c:v>1142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B4-4ECD-8A43-BFFD4F1E8E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07512160"/>
        <c:axId val="1607511328"/>
      </c:barChart>
      <c:dateAx>
        <c:axId val="160751216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7511328"/>
        <c:crosses val="autoZero"/>
        <c:auto val="1"/>
        <c:lblOffset val="100"/>
        <c:baseTimeUnit val="days"/>
      </c:dateAx>
      <c:valAx>
        <c:axId val="16075113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07512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ouTube Impressions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General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9258</c:v>
                </c:pt>
                <c:pt idx="107">
                  <c:v>4481</c:v>
                </c:pt>
                <c:pt idx="108">
                  <c:v>150</c:v>
                </c:pt>
                <c:pt idx="109">
                  <c:v>28</c:v>
                </c:pt>
                <c:pt idx="110">
                  <c:v>5</c:v>
                </c:pt>
                <c:pt idx="111">
                  <c:v>62</c:v>
                </c:pt>
                <c:pt idx="112">
                  <c:v>33</c:v>
                </c:pt>
                <c:pt idx="113">
                  <c:v>2062</c:v>
                </c:pt>
                <c:pt idx="114">
                  <c:v>25</c:v>
                </c:pt>
                <c:pt idx="115">
                  <c:v>96</c:v>
                </c:pt>
                <c:pt idx="116">
                  <c:v>40</c:v>
                </c:pt>
                <c:pt idx="117">
                  <c:v>22</c:v>
                </c:pt>
                <c:pt idx="118">
                  <c:v>20</c:v>
                </c:pt>
                <c:pt idx="119">
                  <c:v>15</c:v>
                </c:pt>
                <c:pt idx="120">
                  <c:v>44</c:v>
                </c:pt>
                <c:pt idx="121">
                  <c:v>28</c:v>
                </c:pt>
                <c:pt idx="122">
                  <c:v>34439</c:v>
                </c:pt>
                <c:pt idx="123">
                  <c:v>27</c:v>
                </c:pt>
                <c:pt idx="124">
                  <c:v>6407</c:v>
                </c:pt>
                <c:pt idx="125">
                  <c:v>1153</c:v>
                </c:pt>
                <c:pt idx="126">
                  <c:v>1506</c:v>
                </c:pt>
                <c:pt idx="127">
                  <c:v>6855</c:v>
                </c:pt>
                <c:pt idx="128">
                  <c:v>22684</c:v>
                </c:pt>
                <c:pt idx="129">
                  <c:v>31260</c:v>
                </c:pt>
                <c:pt idx="130">
                  <c:v>20598</c:v>
                </c:pt>
                <c:pt idx="131">
                  <c:v>1579</c:v>
                </c:pt>
                <c:pt idx="132">
                  <c:v>382</c:v>
                </c:pt>
                <c:pt idx="133">
                  <c:v>979</c:v>
                </c:pt>
                <c:pt idx="134">
                  <c:v>65498</c:v>
                </c:pt>
                <c:pt idx="135">
                  <c:v>54367</c:v>
                </c:pt>
                <c:pt idx="136">
                  <c:v>46265</c:v>
                </c:pt>
                <c:pt idx="137">
                  <c:v>1017</c:v>
                </c:pt>
                <c:pt idx="138">
                  <c:v>4602</c:v>
                </c:pt>
                <c:pt idx="139">
                  <c:v>18384</c:v>
                </c:pt>
                <c:pt idx="140">
                  <c:v>42179</c:v>
                </c:pt>
                <c:pt idx="141">
                  <c:v>13936</c:v>
                </c:pt>
                <c:pt idx="142">
                  <c:v>15658</c:v>
                </c:pt>
                <c:pt idx="143">
                  <c:v>5039</c:v>
                </c:pt>
                <c:pt idx="144">
                  <c:v>7438</c:v>
                </c:pt>
                <c:pt idx="145">
                  <c:v>1886</c:v>
                </c:pt>
                <c:pt idx="146">
                  <c:v>908</c:v>
                </c:pt>
                <c:pt idx="147">
                  <c:v>20875</c:v>
                </c:pt>
                <c:pt idx="148">
                  <c:v>164484</c:v>
                </c:pt>
                <c:pt idx="149">
                  <c:v>149059</c:v>
                </c:pt>
                <c:pt idx="150">
                  <c:v>218484</c:v>
                </c:pt>
                <c:pt idx="151">
                  <c:v>76163</c:v>
                </c:pt>
                <c:pt idx="152">
                  <c:v>141806</c:v>
                </c:pt>
                <c:pt idx="153">
                  <c:v>122584</c:v>
                </c:pt>
                <c:pt idx="154">
                  <c:v>278628</c:v>
                </c:pt>
                <c:pt idx="155">
                  <c:v>312770</c:v>
                </c:pt>
                <c:pt idx="156">
                  <c:v>333987</c:v>
                </c:pt>
                <c:pt idx="157">
                  <c:v>244688</c:v>
                </c:pt>
                <c:pt idx="158">
                  <c:v>115937</c:v>
                </c:pt>
                <c:pt idx="159">
                  <c:v>21329</c:v>
                </c:pt>
                <c:pt idx="160">
                  <c:v>39653</c:v>
                </c:pt>
                <c:pt idx="161">
                  <c:v>16072</c:v>
                </c:pt>
                <c:pt idx="162">
                  <c:v>377</c:v>
                </c:pt>
                <c:pt idx="163">
                  <c:v>590</c:v>
                </c:pt>
                <c:pt idx="164">
                  <c:v>1422</c:v>
                </c:pt>
                <c:pt idx="165">
                  <c:v>6380</c:v>
                </c:pt>
                <c:pt idx="166">
                  <c:v>3563</c:v>
                </c:pt>
                <c:pt idx="167">
                  <c:v>2615</c:v>
                </c:pt>
                <c:pt idx="168">
                  <c:v>508</c:v>
                </c:pt>
                <c:pt idx="169">
                  <c:v>375</c:v>
                </c:pt>
                <c:pt idx="170">
                  <c:v>423</c:v>
                </c:pt>
                <c:pt idx="171">
                  <c:v>1490</c:v>
                </c:pt>
                <c:pt idx="172">
                  <c:v>5881</c:v>
                </c:pt>
                <c:pt idx="173">
                  <c:v>234562</c:v>
                </c:pt>
                <c:pt idx="174">
                  <c:v>245428</c:v>
                </c:pt>
                <c:pt idx="175">
                  <c:v>208698</c:v>
                </c:pt>
                <c:pt idx="176">
                  <c:v>177801</c:v>
                </c:pt>
                <c:pt idx="177">
                  <c:v>70141</c:v>
                </c:pt>
                <c:pt idx="178">
                  <c:v>68326</c:v>
                </c:pt>
                <c:pt idx="179">
                  <c:v>130491</c:v>
                </c:pt>
                <c:pt idx="180">
                  <c:v>16548</c:v>
                </c:pt>
                <c:pt idx="181">
                  <c:v>4666</c:v>
                </c:pt>
                <c:pt idx="182">
                  <c:v>1637</c:v>
                </c:pt>
                <c:pt idx="183">
                  <c:v>2271</c:v>
                </c:pt>
                <c:pt idx="184">
                  <c:v>821</c:v>
                </c:pt>
                <c:pt idx="185">
                  <c:v>1607</c:v>
                </c:pt>
                <c:pt idx="186">
                  <c:v>1201</c:v>
                </c:pt>
                <c:pt idx="187">
                  <c:v>2328</c:v>
                </c:pt>
                <c:pt idx="188">
                  <c:v>4191</c:v>
                </c:pt>
                <c:pt idx="189">
                  <c:v>1811</c:v>
                </c:pt>
                <c:pt idx="190">
                  <c:v>845</c:v>
                </c:pt>
                <c:pt idx="191">
                  <c:v>883</c:v>
                </c:pt>
                <c:pt idx="192">
                  <c:v>1262</c:v>
                </c:pt>
                <c:pt idx="193">
                  <c:v>1266</c:v>
                </c:pt>
                <c:pt idx="194">
                  <c:v>1447</c:v>
                </c:pt>
                <c:pt idx="195">
                  <c:v>4712</c:v>
                </c:pt>
                <c:pt idx="196">
                  <c:v>2191</c:v>
                </c:pt>
                <c:pt idx="197">
                  <c:v>3272</c:v>
                </c:pt>
                <c:pt idx="198">
                  <c:v>4531</c:v>
                </c:pt>
                <c:pt idx="199">
                  <c:v>5753</c:v>
                </c:pt>
                <c:pt idx="200">
                  <c:v>10717</c:v>
                </c:pt>
                <c:pt idx="201">
                  <c:v>20464</c:v>
                </c:pt>
                <c:pt idx="202">
                  <c:v>5478</c:v>
                </c:pt>
                <c:pt idx="203">
                  <c:v>1915</c:v>
                </c:pt>
                <c:pt idx="204">
                  <c:v>4374</c:v>
                </c:pt>
                <c:pt idx="205">
                  <c:v>35307</c:v>
                </c:pt>
                <c:pt idx="206">
                  <c:v>116029</c:v>
                </c:pt>
                <c:pt idx="207">
                  <c:v>246117</c:v>
                </c:pt>
                <c:pt idx="208">
                  <c:v>145043</c:v>
                </c:pt>
                <c:pt idx="209">
                  <c:v>152912</c:v>
                </c:pt>
                <c:pt idx="210">
                  <c:v>8419</c:v>
                </c:pt>
                <c:pt idx="211">
                  <c:v>12031</c:v>
                </c:pt>
                <c:pt idx="212">
                  <c:v>170994</c:v>
                </c:pt>
                <c:pt idx="213">
                  <c:v>165591</c:v>
                </c:pt>
                <c:pt idx="214">
                  <c:v>258462</c:v>
                </c:pt>
                <c:pt idx="215">
                  <c:v>492116</c:v>
                </c:pt>
                <c:pt idx="216">
                  <c:v>77020</c:v>
                </c:pt>
                <c:pt idx="217">
                  <c:v>94352</c:v>
                </c:pt>
                <c:pt idx="218">
                  <c:v>15378</c:v>
                </c:pt>
                <c:pt idx="219">
                  <c:v>4808</c:v>
                </c:pt>
                <c:pt idx="220">
                  <c:v>2935</c:v>
                </c:pt>
                <c:pt idx="221">
                  <c:v>3304</c:v>
                </c:pt>
                <c:pt idx="222">
                  <c:v>3030</c:v>
                </c:pt>
                <c:pt idx="223">
                  <c:v>7140</c:v>
                </c:pt>
                <c:pt idx="224">
                  <c:v>52160</c:v>
                </c:pt>
                <c:pt idx="225">
                  <c:v>46263</c:v>
                </c:pt>
                <c:pt idx="226">
                  <c:v>113520</c:v>
                </c:pt>
                <c:pt idx="227">
                  <c:v>133285</c:v>
                </c:pt>
                <c:pt idx="228">
                  <c:v>65595</c:v>
                </c:pt>
                <c:pt idx="229">
                  <c:v>56627</c:v>
                </c:pt>
                <c:pt idx="230">
                  <c:v>222669</c:v>
                </c:pt>
                <c:pt idx="231">
                  <c:v>35742</c:v>
                </c:pt>
                <c:pt idx="232">
                  <c:v>30004</c:v>
                </c:pt>
                <c:pt idx="233">
                  <c:v>2157</c:v>
                </c:pt>
                <c:pt idx="234">
                  <c:v>1543</c:v>
                </c:pt>
                <c:pt idx="235">
                  <c:v>1627</c:v>
                </c:pt>
                <c:pt idx="236">
                  <c:v>1757</c:v>
                </c:pt>
                <c:pt idx="237">
                  <c:v>6036</c:v>
                </c:pt>
                <c:pt idx="238">
                  <c:v>4160</c:v>
                </c:pt>
                <c:pt idx="239">
                  <c:v>5359</c:v>
                </c:pt>
                <c:pt idx="240">
                  <c:v>6348</c:v>
                </c:pt>
                <c:pt idx="241">
                  <c:v>8264</c:v>
                </c:pt>
                <c:pt idx="242">
                  <c:v>5979</c:v>
                </c:pt>
                <c:pt idx="243">
                  <c:v>10422</c:v>
                </c:pt>
                <c:pt idx="244">
                  <c:v>428653</c:v>
                </c:pt>
                <c:pt idx="245">
                  <c:v>671310</c:v>
                </c:pt>
                <c:pt idx="246">
                  <c:v>304112</c:v>
                </c:pt>
                <c:pt idx="247">
                  <c:v>34372</c:v>
                </c:pt>
                <c:pt idx="248">
                  <c:v>25737</c:v>
                </c:pt>
                <c:pt idx="249">
                  <c:v>51935</c:v>
                </c:pt>
                <c:pt idx="250">
                  <c:v>18079</c:v>
                </c:pt>
                <c:pt idx="251">
                  <c:v>49670</c:v>
                </c:pt>
                <c:pt idx="252">
                  <c:v>1562493</c:v>
                </c:pt>
                <c:pt idx="253">
                  <c:v>412110</c:v>
                </c:pt>
                <c:pt idx="254">
                  <c:v>473371</c:v>
                </c:pt>
                <c:pt idx="255">
                  <c:v>1499469</c:v>
                </c:pt>
                <c:pt idx="256">
                  <c:v>1390404</c:v>
                </c:pt>
                <c:pt idx="257">
                  <c:v>501174</c:v>
                </c:pt>
                <c:pt idx="258">
                  <c:v>535781</c:v>
                </c:pt>
                <c:pt idx="259">
                  <c:v>159101</c:v>
                </c:pt>
                <c:pt idx="260">
                  <c:v>738230</c:v>
                </c:pt>
                <c:pt idx="261">
                  <c:v>1663561</c:v>
                </c:pt>
                <c:pt idx="262">
                  <c:v>1153495</c:v>
                </c:pt>
                <c:pt idx="263">
                  <c:v>377308</c:v>
                </c:pt>
                <c:pt idx="264">
                  <c:v>59211</c:v>
                </c:pt>
                <c:pt idx="265">
                  <c:v>23034</c:v>
                </c:pt>
                <c:pt idx="266">
                  <c:v>11096</c:v>
                </c:pt>
                <c:pt idx="267">
                  <c:v>18296</c:v>
                </c:pt>
                <c:pt idx="268">
                  <c:v>17659</c:v>
                </c:pt>
                <c:pt idx="269">
                  <c:v>25693</c:v>
                </c:pt>
                <c:pt idx="270">
                  <c:v>24225</c:v>
                </c:pt>
                <c:pt idx="271">
                  <c:v>30025</c:v>
                </c:pt>
                <c:pt idx="272">
                  <c:v>41108</c:v>
                </c:pt>
                <c:pt idx="273">
                  <c:v>76916</c:v>
                </c:pt>
                <c:pt idx="274">
                  <c:v>40527</c:v>
                </c:pt>
                <c:pt idx="275">
                  <c:v>122318</c:v>
                </c:pt>
                <c:pt idx="276">
                  <c:v>294401</c:v>
                </c:pt>
                <c:pt idx="277">
                  <c:v>173758</c:v>
                </c:pt>
                <c:pt idx="278">
                  <c:v>134816</c:v>
                </c:pt>
                <c:pt idx="279">
                  <c:v>73684</c:v>
                </c:pt>
                <c:pt idx="280">
                  <c:v>223516</c:v>
                </c:pt>
                <c:pt idx="281">
                  <c:v>352676</c:v>
                </c:pt>
                <c:pt idx="282">
                  <c:v>164450</c:v>
                </c:pt>
                <c:pt idx="283">
                  <c:v>383885</c:v>
                </c:pt>
                <c:pt idx="284">
                  <c:v>1247985</c:v>
                </c:pt>
                <c:pt idx="285">
                  <c:v>144961</c:v>
                </c:pt>
                <c:pt idx="286">
                  <c:v>23157</c:v>
                </c:pt>
                <c:pt idx="287">
                  <c:v>36437</c:v>
                </c:pt>
                <c:pt idx="288">
                  <c:v>8124</c:v>
                </c:pt>
                <c:pt idx="289">
                  <c:v>6249</c:v>
                </c:pt>
                <c:pt idx="290">
                  <c:v>14532</c:v>
                </c:pt>
                <c:pt idx="291">
                  <c:v>14265</c:v>
                </c:pt>
                <c:pt idx="292">
                  <c:v>33860</c:v>
                </c:pt>
                <c:pt idx="293">
                  <c:v>20177</c:v>
                </c:pt>
                <c:pt idx="294">
                  <c:v>17763</c:v>
                </c:pt>
                <c:pt idx="295">
                  <c:v>26835</c:v>
                </c:pt>
                <c:pt idx="296">
                  <c:v>32006</c:v>
                </c:pt>
                <c:pt idx="297">
                  <c:v>107396</c:v>
                </c:pt>
                <c:pt idx="298">
                  <c:v>81893</c:v>
                </c:pt>
                <c:pt idx="299">
                  <c:v>53540</c:v>
                </c:pt>
                <c:pt idx="300">
                  <c:v>59603</c:v>
                </c:pt>
                <c:pt idx="301">
                  <c:v>72690</c:v>
                </c:pt>
                <c:pt idx="302">
                  <c:v>95823</c:v>
                </c:pt>
                <c:pt idx="303">
                  <c:v>146588</c:v>
                </c:pt>
                <c:pt idx="304">
                  <c:v>101591</c:v>
                </c:pt>
                <c:pt idx="305">
                  <c:v>57272</c:v>
                </c:pt>
                <c:pt idx="306">
                  <c:v>24058</c:v>
                </c:pt>
                <c:pt idx="307">
                  <c:v>78877</c:v>
                </c:pt>
                <c:pt idx="308">
                  <c:v>183937</c:v>
                </c:pt>
                <c:pt idx="309">
                  <c:v>335048</c:v>
                </c:pt>
                <c:pt idx="310">
                  <c:v>795011</c:v>
                </c:pt>
                <c:pt idx="311">
                  <c:v>646937</c:v>
                </c:pt>
                <c:pt idx="312">
                  <c:v>223911</c:v>
                </c:pt>
                <c:pt idx="313">
                  <c:v>214682</c:v>
                </c:pt>
                <c:pt idx="314">
                  <c:v>97538</c:v>
                </c:pt>
                <c:pt idx="315">
                  <c:v>23712</c:v>
                </c:pt>
                <c:pt idx="316">
                  <c:v>16797</c:v>
                </c:pt>
                <c:pt idx="317">
                  <c:v>6337</c:v>
                </c:pt>
                <c:pt idx="318">
                  <c:v>21642</c:v>
                </c:pt>
                <c:pt idx="319">
                  <c:v>9711</c:v>
                </c:pt>
                <c:pt idx="320">
                  <c:v>9311</c:v>
                </c:pt>
                <c:pt idx="321">
                  <c:v>4393</c:v>
                </c:pt>
                <c:pt idx="322">
                  <c:v>22086</c:v>
                </c:pt>
                <c:pt idx="323">
                  <c:v>11373</c:v>
                </c:pt>
                <c:pt idx="324">
                  <c:v>17305</c:v>
                </c:pt>
                <c:pt idx="325">
                  <c:v>20447</c:v>
                </c:pt>
                <c:pt idx="326">
                  <c:v>13625</c:v>
                </c:pt>
                <c:pt idx="327">
                  <c:v>50874</c:v>
                </c:pt>
                <c:pt idx="328">
                  <c:v>175606</c:v>
                </c:pt>
                <c:pt idx="329">
                  <c:v>188811</c:v>
                </c:pt>
                <c:pt idx="330">
                  <c:v>215725</c:v>
                </c:pt>
                <c:pt idx="331">
                  <c:v>153598</c:v>
                </c:pt>
                <c:pt idx="332">
                  <c:v>78104</c:v>
                </c:pt>
                <c:pt idx="333">
                  <c:v>5894</c:v>
                </c:pt>
                <c:pt idx="334">
                  <c:v>16683</c:v>
                </c:pt>
                <c:pt idx="335">
                  <c:v>73867</c:v>
                </c:pt>
                <c:pt idx="336">
                  <c:v>177362</c:v>
                </c:pt>
                <c:pt idx="337">
                  <c:v>290784</c:v>
                </c:pt>
                <c:pt idx="338">
                  <c:v>268311</c:v>
                </c:pt>
                <c:pt idx="339">
                  <c:v>222222</c:v>
                </c:pt>
                <c:pt idx="340">
                  <c:v>298724</c:v>
                </c:pt>
                <c:pt idx="341">
                  <c:v>227572</c:v>
                </c:pt>
                <c:pt idx="342">
                  <c:v>172643</c:v>
                </c:pt>
                <c:pt idx="343">
                  <c:v>94410</c:v>
                </c:pt>
                <c:pt idx="344">
                  <c:v>41593</c:v>
                </c:pt>
                <c:pt idx="345">
                  <c:v>45262</c:v>
                </c:pt>
                <c:pt idx="346">
                  <c:v>156490</c:v>
                </c:pt>
                <c:pt idx="347">
                  <c:v>97805</c:v>
                </c:pt>
                <c:pt idx="348">
                  <c:v>102790</c:v>
                </c:pt>
                <c:pt idx="349">
                  <c:v>59775</c:v>
                </c:pt>
                <c:pt idx="350">
                  <c:v>58817</c:v>
                </c:pt>
                <c:pt idx="351">
                  <c:v>113805</c:v>
                </c:pt>
                <c:pt idx="352">
                  <c:v>51628</c:v>
                </c:pt>
                <c:pt idx="353">
                  <c:v>14694</c:v>
                </c:pt>
                <c:pt idx="354">
                  <c:v>79167</c:v>
                </c:pt>
                <c:pt idx="355">
                  <c:v>108372</c:v>
                </c:pt>
                <c:pt idx="356">
                  <c:v>15783</c:v>
                </c:pt>
                <c:pt idx="357">
                  <c:v>3513</c:v>
                </c:pt>
                <c:pt idx="358">
                  <c:v>8445</c:v>
                </c:pt>
                <c:pt idx="359">
                  <c:v>47085</c:v>
                </c:pt>
                <c:pt idx="360">
                  <c:v>403026</c:v>
                </c:pt>
                <c:pt idx="361">
                  <c:v>251471</c:v>
                </c:pt>
                <c:pt idx="362">
                  <c:v>444438</c:v>
                </c:pt>
                <c:pt idx="363">
                  <c:v>293212</c:v>
                </c:pt>
                <c:pt idx="364">
                  <c:v>1202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B4-4ECD-8A43-BFFD4F1E8E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07512160"/>
        <c:axId val="1607511328"/>
      </c:barChart>
      <c:dateAx>
        <c:axId val="160751216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7511328"/>
        <c:crosses val="autoZero"/>
        <c:auto val="1"/>
        <c:lblOffset val="100"/>
        <c:baseTimeUnit val="days"/>
      </c:dateAx>
      <c:valAx>
        <c:axId val="16075113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07512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n-Social Display Impression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General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217722</c:v>
                </c:pt>
                <c:pt idx="169">
                  <c:v>23536</c:v>
                </c:pt>
                <c:pt idx="170">
                  <c:v>27006</c:v>
                </c:pt>
                <c:pt idx="171">
                  <c:v>22618</c:v>
                </c:pt>
                <c:pt idx="172">
                  <c:v>24879</c:v>
                </c:pt>
                <c:pt idx="173">
                  <c:v>34179</c:v>
                </c:pt>
                <c:pt idx="174">
                  <c:v>45820</c:v>
                </c:pt>
                <c:pt idx="175">
                  <c:v>45551</c:v>
                </c:pt>
                <c:pt idx="176">
                  <c:v>62987</c:v>
                </c:pt>
                <c:pt idx="177">
                  <c:v>73894</c:v>
                </c:pt>
                <c:pt idx="178">
                  <c:v>65850</c:v>
                </c:pt>
                <c:pt idx="179">
                  <c:v>52024</c:v>
                </c:pt>
                <c:pt idx="180">
                  <c:v>56153</c:v>
                </c:pt>
                <c:pt idx="181">
                  <c:v>54502</c:v>
                </c:pt>
                <c:pt idx="182">
                  <c:v>58025</c:v>
                </c:pt>
                <c:pt idx="183">
                  <c:v>82640</c:v>
                </c:pt>
                <c:pt idx="184">
                  <c:v>97511</c:v>
                </c:pt>
                <c:pt idx="185">
                  <c:v>115906</c:v>
                </c:pt>
                <c:pt idx="186">
                  <c:v>102416</c:v>
                </c:pt>
                <c:pt idx="187">
                  <c:v>52580</c:v>
                </c:pt>
                <c:pt idx="188">
                  <c:v>91886</c:v>
                </c:pt>
                <c:pt idx="189">
                  <c:v>106578</c:v>
                </c:pt>
                <c:pt idx="190">
                  <c:v>168133</c:v>
                </c:pt>
                <c:pt idx="191">
                  <c:v>277415</c:v>
                </c:pt>
                <c:pt idx="192">
                  <c:v>149090</c:v>
                </c:pt>
                <c:pt idx="193">
                  <c:v>60772</c:v>
                </c:pt>
                <c:pt idx="194">
                  <c:v>270717</c:v>
                </c:pt>
                <c:pt idx="195">
                  <c:v>140923</c:v>
                </c:pt>
                <c:pt idx="196">
                  <c:v>244816</c:v>
                </c:pt>
                <c:pt idx="197">
                  <c:v>407032</c:v>
                </c:pt>
                <c:pt idx="198">
                  <c:v>272650</c:v>
                </c:pt>
                <c:pt idx="199">
                  <c:v>268178</c:v>
                </c:pt>
                <c:pt idx="200">
                  <c:v>67682</c:v>
                </c:pt>
                <c:pt idx="201">
                  <c:v>213628</c:v>
                </c:pt>
                <c:pt idx="202">
                  <c:v>118769</c:v>
                </c:pt>
                <c:pt idx="203">
                  <c:v>213111</c:v>
                </c:pt>
                <c:pt idx="204">
                  <c:v>295756</c:v>
                </c:pt>
                <c:pt idx="205">
                  <c:v>115210</c:v>
                </c:pt>
                <c:pt idx="206">
                  <c:v>184004</c:v>
                </c:pt>
                <c:pt idx="207">
                  <c:v>129059</c:v>
                </c:pt>
                <c:pt idx="208">
                  <c:v>125901</c:v>
                </c:pt>
                <c:pt idx="209">
                  <c:v>231096</c:v>
                </c:pt>
                <c:pt idx="210">
                  <c:v>119201</c:v>
                </c:pt>
                <c:pt idx="211">
                  <c:v>290452</c:v>
                </c:pt>
                <c:pt idx="212">
                  <c:v>175736</c:v>
                </c:pt>
                <c:pt idx="213">
                  <c:v>339533</c:v>
                </c:pt>
                <c:pt idx="214">
                  <c:v>282539</c:v>
                </c:pt>
                <c:pt idx="215">
                  <c:v>470442</c:v>
                </c:pt>
                <c:pt idx="216">
                  <c:v>289693</c:v>
                </c:pt>
                <c:pt idx="217">
                  <c:v>305561</c:v>
                </c:pt>
                <c:pt idx="218">
                  <c:v>337941</c:v>
                </c:pt>
                <c:pt idx="219">
                  <c:v>243423</c:v>
                </c:pt>
                <c:pt idx="220">
                  <c:v>340764</c:v>
                </c:pt>
                <c:pt idx="221">
                  <c:v>102746</c:v>
                </c:pt>
                <c:pt idx="222">
                  <c:v>47331</c:v>
                </c:pt>
                <c:pt idx="223">
                  <c:v>49338</c:v>
                </c:pt>
                <c:pt idx="224">
                  <c:v>216759</c:v>
                </c:pt>
                <c:pt idx="225">
                  <c:v>230902</c:v>
                </c:pt>
                <c:pt idx="226">
                  <c:v>179116</c:v>
                </c:pt>
                <c:pt idx="227">
                  <c:v>217195</c:v>
                </c:pt>
                <c:pt idx="228">
                  <c:v>205900</c:v>
                </c:pt>
                <c:pt idx="229">
                  <c:v>219977</c:v>
                </c:pt>
                <c:pt idx="230">
                  <c:v>219758</c:v>
                </c:pt>
                <c:pt idx="231">
                  <c:v>501036</c:v>
                </c:pt>
                <c:pt idx="232">
                  <c:v>249354</c:v>
                </c:pt>
                <c:pt idx="233">
                  <c:v>234091</c:v>
                </c:pt>
                <c:pt idx="234">
                  <c:v>258932</c:v>
                </c:pt>
                <c:pt idx="235">
                  <c:v>115626</c:v>
                </c:pt>
                <c:pt idx="236">
                  <c:v>293149</c:v>
                </c:pt>
                <c:pt idx="237">
                  <c:v>287420</c:v>
                </c:pt>
                <c:pt idx="238">
                  <c:v>160219</c:v>
                </c:pt>
                <c:pt idx="239">
                  <c:v>116581</c:v>
                </c:pt>
                <c:pt idx="240">
                  <c:v>188423</c:v>
                </c:pt>
                <c:pt idx="241">
                  <c:v>122911</c:v>
                </c:pt>
                <c:pt idx="242">
                  <c:v>236936</c:v>
                </c:pt>
                <c:pt idx="243">
                  <c:v>180111</c:v>
                </c:pt>
                <c:pt idx="244">
                  <c:v>192095</c:v>
                </c:pt>
                <c:pt idx="245">
                  <c:v>326155</c:v>
                </c:pt>
                <c:pt idx="246">
                  <c:v>229439</c:v>
                </c:pt>
                <c:pt idx="247">
                  <c:v>221533</c:v>
                </c:pt>
                <c:pt idx="248">
                  <c:v>119935</c:v>
                </c:pt>
                <c:pt idx="249">
                  <c:v>117983</c:v>
                </c:pt>
                <c:pt idx="250">
                  <c:v>107867</c:v>
                </c:pt>
                <c:pt idx="251">
                  <c:v>111298</c:v>
                </c:pt>
                <c:pt idx="252">
                  <c:v>173364</c:v>
                </c:pt>
                <c:pt idx="253">
                  <c:v>89990</c:v>
                </c:pt>
                <c:pt idx="254">
                  <c:v>124821</c:v>
                </c:pt>
                <c:pt idx="255">
                  <c:v>219278</c:v>
                </c:pt>
                <c:pt idx="256">
                  <c:v>87376</c:v>
                </c:pt>
                <c:pt idx="257">
                  <c:v>159813</c:v>
                </c:pt>
                <c:pt idx="258">
                  <c:v>109869</c:v>
                </c:pt>
                <c:pt idx="259">
                  <c:v>125475</c:v>
                </c:pt>
                <c:pt idx="260">
                  <c:v>337973</c:v>
                </c:pt>
                <c:pt idx="261">
                  <c:v>178562</c:v>
                </c:pt>
                <c:pt idx="262">
                  <c:v>161733</c:v>
                </c:pt>
                <c:pt idx="263">
                  <c:v>118387</c:v>
                </c:pt>
                <c:pt idx="264">
                  <c:v>224642</c:v>
                </c:pt>
                <c:pt idx="265">
                  <c:v>119790</c:v>
                </c:pt>
                <c:pt idx="266">
                  <c:v>129261</c:v>
                </c:pt>
                <c:pt idx="267">
                  <c:v>214226</c:v>
                </c:pt>
                <c:pt idx="268">
                  <c:v>184307</c:v>
                </c:pt>
                <c:pt idx="269">
                  <c:v>114526</c:v>
                </c:pt>
                <c:pt idx="270">
                  <c:v>107132</c:v>
                </c:pt>
                <c:pt idx="271">
                  <c:v>235077</c:v>
                </c:pt>
                <c:pt idx="272">
                  <c:v>121899</c:v>
                </c:pt>
                <c:pt idx="273">
                  <c:v>189421</c:v>
                </c:pt>
                <c:pt idx="274">
                  <c:v>92662</c:v>
                </c:pt>
                <c:pt idx="275">
                  <c:v>139533</c:v>
                </c:pt>
                <c:pt idx="276">
                  <c:v>107269</c:v>
                </c:pt>
                <c:pt idx="277">
                  <c:v>104644</c:v>
                </c:pt>
                <c:pt idx="278">
                  <c:v>101978</c:v>
                </c:pt>
                <c:pt idx="279">
                  <c:v>122803</c:v>
                </c:pt>
                <c:pt idx="280">
                  <c:v>124801</c:v>
                </c:pt>
                <c:pt idx="281">
                  <c:v>315750</c:v>
                </c:pt>
                <c:pt idx="282">
                  <c:v>188056</c:v>
                </c:pt>
                <c:pt idx="283">
                  <c:v>135240</c:v>
                </c:pt>
                <c:pt idx="284">
                  <c:v>75839</c:v>
                </c:pt>
                <c:pt idx="285">
                  <c:v>199669</c:v>
                </c:pt>
                <c:pt idx="286">
                  <c:v>162417</c:v>
                </c:pt>
                <c:pt idx="287">
                  <c:v>147215</c:v>
                </c:pt>
                <c:pt idx="288">
                  <c:v>232074</c:v>
                </c:pt>
                <c:pt idx="289">
                  <c:v>233104</c:v>
                </c:pt>
                <c:pt idx="290">
                  <c:v>122416</c:v>
                </c:pt>
                <c:pt idx="291">
                  <c:v>112087</c:v>
                </c:pt>
                <c:pt idx="292">
                  <c:v>147198</c:v>
                </c:pt>
                <c:pt idx="293">
                  <c:v>130142</c:v>
                </c:pt>
                <c:pt idx="294">
                  <c:v>99713</c:v>
                </c:pt>
                <c:pt idx="295">
                  <c:v>215957</c:v>
                </c:pt>
                <c:pt idx="296">
                  <c:v>137478</c:v>
                </c:pt>
                <c:pt idx="297">
                  <c:v>117382</c:v>
                </c:pt>
                <c:pt idx="298">
                  <c:v>93511</c:v>
                </c:pt>
                <c:pt idx="299">
                  <c:v>154679</c:v>
                </c:pt>
                <c:pt idx="300">
                  <c:v>71726</c:v>
                </c:pt>
                <c:pt idx="301">
                  <c:v>89110</c:v>
                </c:pt>
                <c:pt idx="302">
                  <c:v>146525</c:v>
                </c:pt>
                <c:pt idx="303">
                  <c:v>103692</c:v>
                </c:pt>
                <c:pt idx="304">
                  <c:v>97999</c:v>
                </c:pt>
                <c:pt idx="305">
                  <c:v>71997</c:v>
                </c:pt>
                <c:pt idx="306">
                  <c:v>291329</c:v>
                </c:pt>
                <c:pt idx="307">
                  <c:v>147604</c:v>
                </c:pt>
                <c:pt idx="308">
                  <c:v>218558</c:v>
                </c:pt>
                <c:pt idx="309">
                  <c:v>212419</c:v>
                </c:pt>
                <c:pt idx="310">
                  <c:v>242217</c:v>
                </c:pt>
                <c:pt idx="311">
                  <c:v>214704</c:v>
                </c:pt>
                <c:pt idx="312">
                  <c:v>168254</c:v>
                </c:pt>
                <c:pt idx="313">
                  <c:v>78802</c:v>
                </c:pt>
                <c:pt idx="314">
                  <c:v>194763</c:v>
                </c:pt>
                <c:pt idx="315">
                  <c:v>169504</c:v>
                </c:pt>
                <c:pt idx="316">
                  <c:v>195857</c:v>
                </c:pt>
                <c:pt idx="317">
                  <c:v>139324</c:v>
                </c:pt>
                <c:pt idx="318">
                  <c:v>147617</c:v>
                </c:pt>
                <c:pt idx="319">
                  <c:v>159310</c:v>
                </c:pt>
                <c:pt idx="320">
                  <c:v>138890</c:v>
                </c:pt>
                <c:pt idx="321">
                  <c:v>159484</c:v>
                </c:pt>
                <c:pt idx="322">
                  <c:v>141722</c:v>
                </c:pt>
                <c:pt idx="323">
                  <c:v>107322</c:v>
                </c:pt>
                <c:pt idx="324">
                  <c:v>223686</c:v>
                </c:pt>
                <c:pt idx="325">
                  <c:v>72669</c:v>
                </c:pt>
                <c:pt idx="326">
                  <c:v>98941</c:v>
                </c:pt>
                <c:pt idx="327">
                  <c:v>86720</c:v>
                </c:pt>
                <c:pt idx="328">
                  <c:v>64219</c:v>
                </c:pt>
                <c:pt idx="329">
                  <c:v>107343</c:v>
                </c:pt>
                <c:pt idx="330">
                  <c:v>102598</c:v>
                </c:pt>
                <c:pt idx="331">
                  <c:v>543304</c:v>
                </c:pt>
                <c:pt idx="332">
                  <c:v>93537</c:v>
                </c:pt>
                <c:pt idx="333">
                  <c:v>116949</c:v>
                </c:pt>
                <c:pt idx="334">
                  <c:v>159005</c:v>
                </c:pt>
                <c:pt idx="335">
                  <c:v>161392</c:v>
                </c:pt>
                <c:pt idx="336">
                  <c:v>165256</c:v>
                </c:pt>
                <c:pt idx="337">
                  <c:v>421768</c:v>
                </c:pt>
                <c:pt idx="338">
                  <c:v>228600</c:v>
                </c:pt>
                <c:pt idx="339">
                  <c:v>260276</c:v>
                </c:pt>
                <c:pt idx="340">
                  <c:v>170374</c:v>
                </c:pt>
                <c:pt idx="341">
                  <c:v>206968</c:v>
                </c:pt>
                <c:pt idx="342">
                  <c:v>199848</c:v>
                </c:pt>
                <c:pt idx="343">
                  <c:v>188177</c:v>
                </c:pt>
                <c:pt idx="344">
                  <c:v>252682</c:v>
                </c:pt>
                <c:pt idx="345">
                  <c:v>185426</c:v>
                </c:pt>
                <c:pt idx="346">
                  <c:v>255277</c:v>
                </c:pt>
                <c:pt idx="347">
                  <c:v>184536</c:v>
                </c:pt>
                <c:pt idx="348">
                  <c:v>162002</c:v>
                </c:pt>
                <c:pt idx="349">
                  <c:v>175881</c:v>
                </c:pt>
                <c:pt idx="350">
                  <c:v>183496</c:v>
                </c:pt>
                <c:pt idx="351">
                  <c:v>160402</c:v>
                </c:pt>
                <c:pt idx="352">
                  <c:v>316953</c:v>
                </c:pt>
                <c:pt idx="353">
                  <c:v>155292</c:v>
                </c:pt>
                <c:pt idx="354">
                  <c:v>293502</c:v>
                </c:pt>
                <c:pt idx="355">
                  <c:v>191798</c:v>
                </c:pt>
                <c:pt idx="356">
                  <c:v>143466</c:v>
                </c:pt>
                <c:pt idx="357">
                  <c:v>172298</c:v>
                </c:pt>
                <c:pt idx="358">
                  <c:v>206164</c:v>
                </c:pt>
                <c:pt idx="359">
                  <c:v>378157</c:v>
                </c:pt>
                <c:pt idx="360">
                  <c:v>192597</c:v>
                </c:pt>
                <c:pt idx="361">
                  <c:v>245047</c:v>
                </c:pt>
                <c:pt idx="362">
                  <c:v>219056</c:v>
                </c:pt>
                <c:pt idx="363">
                  <c:v>193839</c:v>
                </c:pt>
                <c:pt idx="364">
                  <c:v>2352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B4-4ECD-8A43-BFFD4F1E8E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07512160"/>
        <c:axId val="1607511328"/>
      </c:barChart>
      <c:dateAx>
        <c:axId val="160751216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7511328"/>
        <c:crosses val="autoZero"/>
        <c:auto val="1"/>
        <c:lblOffset val="100"/>
        <c:baseTimeUnit val="days"/>
      </c:dateAx>
      <c:valAx>
        <c:axId val="16075113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07512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arch Impressions (Google Search)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General</c:formatCode>
                <c:ptCount val="36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109</c:v>
                </c:pt>
                <c:pt idx="107">
                  <c:v>70</c:v>
                </c:pt>
                <c:pt idx="108">
                  <c:v>613</c:v>
                </c:pt>
                <c:pt idx="109">
                  <c:v>533</c:v>
                </c:pt>
                <c:pt idx="110">
                  <c:v>709</c:v>
                </c:pt>
                <c:pt idx="111">
                  <c:v>674</c:v>
                </c:pt>
                <c:pt idx="112">
                  <c:v>631</c:v>
                </c:pt>
                <c:pt idx="113">
                  <c:v>495</c:v>
                </c:pt>
                <c:pt idx="114">
                  <c:v>859</c:v>
                </c:pt>
                <c:pt idx="115">
                  <c:v>4349</c:v>
                </c:pt>
                <c:pt idx="116">
                  <c:v>4728</c:v>
                </c:pt>
                <c:pt idx="117">
                  <c:v>2700</c:v>
                </c:pt>
                <c:pt idx="118">
                  <c:v>2168</c:v>
                </c:pt>
                <c:pt idx="119">
                  <c:v>2625</c:v>
                </c:pt>
                <c:pt idx="120">
                  <c:v>2447</c:v>
                </c:pt>
                <c:pt idx="121">
                  <c:v>2812</c:v>
                </c:pt>
                <c:pt idx="122">
                  <c:v>3376</c:v>
                </c:pt>
                <c:pt idx="123">
                  <c:v>1631</c:v>
                </c:pt>
                <c:pt idx="124">
                  <c:v>1492</c:v>
                </c:pt>
                <c:pt idx="125">
                  <c:v>1626</c:v>
                </c:pt>
                <c:pt idx="126">
                  <c:v>1469</c:v>
                </c:pt>
                <c:pt idx="127">
                  <c:v>1708</c:v>
                </c:pt>
                <c:pt idx="128">
                  <c:v>1876</c:v>
                </c:pt>
                <c:pt idx="129">
                  <c:v>2117</c:v>
                </c:pt>
                <c:pt idx="130">
                  <c:v>1117</c:v>
                </c:pt>
                <c:pt idx="131">
                  <c:v>1451</c:v>
                </c:pt>
                <c:pt idx="132">
                  <c:v>1132</c:v>
                </c:pt>
                <c:pt idx="133">
                  <c:v>1621</c:v>
                </c:pt>
                <c:pt idx="134">
                  <c:v>1477</c:v>
                </c:pt>
                <c:pt idx="135">
                  <c:v>1104</c:v>
                </c:pt>
                <c:pt idx="136">
                  <c:v>1085</c:v>
                </c:pt>
                <c:pt idx="137">
                  <c:v>667</c:v>
                </c:pt>
                <c:pt idx="138">
                  <c:v>772</c:v>
                </c:pt>
                <c:pt idx="139">
                  <c:v>554</c:v>
                </c:pt>
                <c:pt idx="140">
                  <c:v>1464</c:v>
                </c:pt>
                <c:pt idx="141">
                  <c:v>1543</c:v>
                </c:pt>
                <c:pt idx="142">
                  <c:v>1737</c:v>
                </c:pt>
                <c:pt idx="143">
                  <c:v>2032</c:v>
                </c:pt>
                <c:pt idx="144">
                  <c:v>1141</c:v>
                </c:pt>
                <c:pt idx="145">
                  <c:v>1139</c:v>
                </c:pt>
                <c:pt idx="146">
                  <c:v>1353</c:v>
                </c:pt>
                <c:pt idx="147">
                  <c:v>1401</c:v>
                </c:pt>
                <c:pt idx="148">
                  <c:v>897</c:v>
                </c:pt>
                <c:pt idx="149">
                  <c:v>1079</c:v>
                </c:pt>
                <c:pt idx="150">
                  <c:v>1038</c:v>
                </c:pt>
                <c:pt idx="151">
                  <c:v>1035</c:v>
                </c:pt>
                <c:pt idx="152">
                  <c:v>1212</c:v>
                </c:pt>
                <c:pt idx="153">
                  <c:v>1310</c:v>
                </c:pt>
                <c:pt idx="154">
                  <c:v>1121</c:v>
                </c:pt>
                <c:pt idx="155">
                  <c:v>846</c:v>
                </c:pt>
                <c:pt idx="156">
                  <c:v>853</c:v>
                </c:pt>
                <c:pt idx="157">
                  <c:v>751</c:v>
                </c:pt>
                <c:pt idx="158">
                  <c:v>876</c:v>
                </c:pt>
                <c:pt idx="159">
                  <c:v>1133</c:v>
                </c:pt>
                <c:pt idx="160">
                  <c:v>1092</c:v>
                </c:pt>
                <c:pt idx="161">
                  <c:v>1072</c:v>
                </c:pt>
                <c:pt idx="162">
                  <c:v>1159</c:v>
                </c:pt>
                <c:pt idx="163">
                  <c:v>1119</c:v>
                </c:pt>
                <c:pt idx="164">
                  <c:v>707</c:v>
                </c:pt>
                <c:pt idx="165">
                  <c:v>790</c:v>
                </c:pt>
                <c:pt idx="166">
                  <c:v>459</c:v>
                </c:pt>
                <c:pt idx="167">
                  <c:v>675</c:v>
                </c:pt>
                <c:pt idx="168">
                  <c:v>390</c:v>
                </c:pt>
                <c:pt idx="169">
                  <c:v>358</c:v>
                </c:pt>
                <c:pt idx="170">
                  <c:v>425</c:v>
                </c:pt>
                <c:pt idx="171">
                  <c:v>623</c:v>
                </c:pt>
                <c:pt idx="172">
                  <c:v>484</c:v>
                </c:pt>
                <c:pt idx="173">
                  <c:v>629</c:v>
                </c:pt>
                <c:pt idx="174">
                  <c:v>594</c:v>
                </c:pt>
                <c:pt idx="175">
                  <c:v>703</c:v>
                </c:pt>
                <c:pt idx="176">
                  <c:v>452</c:v>
                </c:pt>
                <c:pt idx="177">
                  <c:v>793</c:v>
                </c:pt>
                <c:pt idx="178">
                  <c:v>602</c:v>
                </c:pt>
                <c:pt idx="179">
                  <c:v>564</c:v>
                </c:pt>
                <c:pt idx="180">
                  <c:v>628</c:v>
                </c:pt>
                <c:pt idx="181">
                  <c:v>813</c:v>
                </c:pt>
                <c:pt idx="182">
                  <c:v>550</c:v>
                </c:pt>
                <c:pt idx="183">
                  <c:v>546</c:v>
                </c:pt>
                <c:pt idx="184">
                  <c:v>554</c:v>
                </c:pt>
                <c:pt idx="185">
                  <c:v>999</c:v>
                </c:pt>
                <c:pt idx="186">
                  <c:v>976</c:v>
                </c:pt>
                <c:pt idx="187">
                  <c:v>1067</c:v>
                </c:pt>
                <c:pt idx="188">
                  <c:v>808</c:v>
                </c:pt>
                <c:pt idx="189">
                  <c:v>855</c:v>
                </c:pt>
                <c:pt idx="190">
                  <c:v>970</c:v>
                </c:pt>
                <c:pt idx="191">
                  <c:v>786</c:v>
                </c:pt>
                <c:pt idx="192">
                  <c:v>895</c:v>
                </c:pt>
                <c:pt idx="193">
                  <c:v>1019</c:v>
                </c:pt>
                <c:pt idx="194">
                  <c:v>871</c:v>
                </c:pt>
                <c:pt idx="195">
                  <c:v>832</c:v>
                </c:pt>
                <c:pt idx="196">
                  <c:v>858</c:v>
                </c:pt>
                <c:pt idx="197">
                  <c:v>1035</c:v>
                </c:pt>
                <c:pt idx="198">
                  <c:v>1463</c:v>
                </c:pt>
                <c:pt idx="199">
                  <c:v>1526</c:v>
                </c:pt>
                <c:pt idx="200">
                  <c:v>1070</c:v>
                </c:pt>
                <c:pt idx="201">
                  <c:v>816</c:v>
                </c:pt>
                <c:pt idx="202">
                  <c:v>743</c:v>
                </c:pt>
                <c:pt idx="203">
                  <c:v>745</c:v>
                </c:pt>
                <c:pt idx="204">
                  <c:v>754</c:v>
                </c:pt>
                <c:pt idx="205">
                  <c:v>889</c:v>
                </c:pt>
                <c:pt idx="206">
                  <c:v>1015</c:v>
                </c:pt>
                <c:pt idx="207">
                  <c:v>1194</c:v>
                </c:pt>
                <c:pt idx="208">
                  <c:v>997</c:v>
                </c:pt>
                <c:pt idx="209">
                  <c:v>988</c:v>
                </c:pt>
                <c:pt idx="210">
                  <c:v>1084</c:v>
                </c:pt>
                <c:pt idx="211">
                  <c:v>895</c:v>
                </c:pt>
                <c:pt idx="212">
                  <c:v>1148</c:v>
                </c:pt>
                <c:pt idx="213">
                  <c:v>826</c:v>
                </c:pt>
                <c:pt idx="214">
                  <c:v>788</c:v>
                </c:pt>
                <c:pt idx="215">
                  <c:v>1085</c:v>
                </c:pt>
                <c:pt idx="216">
                  <c:v>1062</c:v>
                </c:pt>
                <c:pt idx="217">
                  <c:v>926</c:v>
                </c:pt>
                <c:pt idx="218">
                  <c:v>1010</c:v>
                </c:pt>
                <c:pt idx="219">
                  <c:v>1081</c:v>
                </c:pt>
                <c:pt idx="220">
                  <c:v>1287</c:v>
                </c:pt>
                <c:pt idx="221">
                  <c:v>1421</c:v>
                </c:pt>
                <c:pt idx="222">
                  <c:v>1284</c:v>
                </c:pt>
                <c:pt idx="223">
                  <c:v>1075</c:v>
                </c:pt>
                <c:pt idx="224">
                  <c:v>1196</c:v>
                </c:pt>
                <c:pt idx="225">
                  <c:v>1603</c:v>
                </c:pt>
                <c:pt idx="226">
                  <c:v>1598</c:v>
                </c:pt>
                <c:pt idx="227">
                  <c:v>1411</c:v>
                </c:pt>
                <c:pt idx="228">
                  <c:v>923</c:v>
                </c:pt>
                <c:pt idx="229">
                  <c:v>978</c:v>
                </c:pt>
                <c:pt idx="230">
                  <c:v>813</c:v>
                </c:pt>
                <c:pt idx="231">
                  <c:v>680</c:v>
                </c:pt>
                <c:pt idx="232">
                  <c:v>718</c:v>
                </c:pt>
                <c:pt idx="233">
                  <c:v>954</c:v>
                </c:pt>
                <c:pt idx="234">
                  <c:v>792</c:v>
                </c:pt>
                <c:pt idx="235">
                  <c:v>954</c:v>
                </c:pt>
                <c:pt idx="236">
                  <c:v>859</c:v>
                </c:pt>
                <c:pt idx="237">
                  <c:v>927</c:v>
                </c:pt>
                <c:pt idx="238">
                  <c:v>993</c:v>
                </c:pt>
                <c:pt idx="239">
                  <c:v>1054</c:v>
                </c:pt>
                <c:pt idx="240">
                  <c:v>1107</c:v>
                </c:pt>
                <c:pt idx="241">
                  <c:v>1588</c:v>
                </c:pt>
                <c:pt idx="242">
                  <c:v>1272</c:v>
                </c:pt>
                <c:pt idx="243">
                  <c:v>1325</c:v>
                </c:pt>
                <c:pt idx="244">
                  <c:v>1658</c:v>
                </c:pt>
                <c:pt idx="245">
                  <c:v>1409</c:v>
                </c:pt>
                <c:pt idx="246">
                  <c:v>1243</c:v>
                </c:pt>
                <c:pt idx="247">
                  <c:v>1025</c:v>
                </c:pt>
                <c:pt idx="248">
                  <c:v>1036</c:v>
                </c:pt>
                <c:pt idx="249">
                  <c:v>874</c:v>
                </c:pt>
                <c:pt idx="250">
                  <c:v>1208</c:v>
                </c:pt>
                <c:pt idx="251">
                  <c:v>1775</c:v>
                </c:pt>
                <c:pt idx="252">
                  <c:v>2611</c:v>
                </c:pt>
                <c:pt idx="253">
                  <c:v>2019</c:v>
                </c:pt>
                <c:pt idx="254">
                  <c:v>1676</c:v>
                </c:pt>
                <c:pt idx="255">
                  <c:v>1217</c:v>
                </c:pt>
                <c:pt idx="256">
                  <c:v>1031</c:v>
                </c:pt>
                <c:pt idx="257">
                  <c:v>1410</c:v>
                </c:pt>
                <c:pt idx="258">
                  <c:v>534</c:v>
                </c:pt>
                <c:pt idx="259">
                  <c:v>465</c:v>
                </c:pt>
                <c:pt idx="260">
                  <c:v>643</c:v>
                </c:pt>
                <c:pt idx="261">
                  <c:v>793</c:v>
                </c:pt>
                <c:pt idx="262">
                  <c:v>951</c:v>
                </c:pt>
                <c:pt idx="263">
                  <c:v>645</c:v>
                </c:pt>
                <c:pt idx="264">
                  <c:v>633</c:v>
                </c:pt>
                <c:pt idx="265">
                  <c:v>556</c:v>
                </c:pt>
                <c:pt idx="266">
                  <c:v>892</c:v>
                </c:pt>
                <c:pt idx="267">
                  <c:v>1003</c:v>
                </c:pt>
                <c:pt idx="268">
                  <c:v>1249</c:v>
                </c:pt>
                <c:pt idx="269">
                  <c:v>1538</c:v>
                </c:pt>
                <c:pt idx="270">
                  <c:v>1363</c:v>
                </c:pt>
                <c:pt idx="271">
                  <c:v>1133</c:v>
                </c:pt>
                <c:pt idx="272">
                  <c:v>1499</c:v>
                </c:pt>
                <c:pt idx="273">
                  <c:v>1182</c:v>
                </c:pt>
                <c:pt idx="274">
                  <c:v>1103</c:v>
                </c:pt>
                <c:pt idx="275">
                  <c:v>1399</c:v>
                </c:pt>
                <c:pt idx="276">
                  <c:v>1218</c:v>
                </c:pt>
                <c:pt idx="277">
                  <c:v>925</c:v>
                </c:pt>
                <c:pt idx="278">
                  <c:v>805</c:v>
                </c:pt>
                <c:pt idx="279">
                  <c:v>772</c:v>
                </c:pt>
                <c:pt idx="280">
                  <c:v>804</c:v>
                </c:pt>
                <c:pt idx="281">
                  <c:v>977</c:v>
                </c:pt>
                <c:pt idx="282">
                  <c:v>854</c:v>
                </c:pt>
                <c:pt idx="283">
                  <c:v>968</c:v>
                </c:pt>
                <c:pt idx="284">
                  <c:v>757</c:v>
                </c:pt>
                <c:pt idx="285">
                  <c:v>756</c:v>
                </c:pt>
                <c:pt idx="286">
                  <c:v>800</c:v>
                </c:pt>
                <c:pt idx="287">
                  <c:v>898</c:v>
                </c:pt>
                <c:pt idx="288">
                  <c:v>925</c:v>
                </c:pt>
                <c:pt idx="289">
                  <c:v>763</c:v>
                </c:pt>
                <c:pt idx="290">
                  <c:v>737</c:v>
                </c:pt>
                <c:pt idx="291">
                  <c:v>850</c:v>
                </c:pt>
                <c:pt idx="292">
                  <c:v>928</c:v>
                </c:pt>
                <c:pt idx="293">
                  <c:v>840</c:v>
                </c:pt>
                <c:pt idx="294">
                  <c:v>1204</c:v>
                </c:pt>
                <c:pt idx="295">
                  <c:v>1148</c:v>
                </c:pt>
                <c:pt idx="296">
                  <c:v>2596</c:v>
                </c:pt>
                <c:pt idx="297">
                  <c:v>3467</c:v>
                </c:pt>
                <c:pt idx="298">
                  <c:v>5063</c:v>
                </c:pt>
                <c:pt idx="299">
                  <c:v>4332</c:v>
                </c:pt>
                <c:pt idx="300">
                  <c:v>1824</c:v>
                </c:pt>
                <c:pt idx="301">
                  <c:v>2588</c:v>
                </c:pt>
                <c:pt idx="302">
                  <c:v>1487</c:v>
                </c:pt>
                <c:pt idx="303">
                  <c:v>1429</c:v>
                </c:pt>
                <c:pt idx="304">
                  <c:v>1903</c:v>
                </c:pt>
                <c:pt idx="305">
                  <c:v>3546</c:v>
                </c:pt>
                <c:pt idx="306">
                  <c:v>2171</c:v>
                </c:pt>
                <c:pt idx="307">
                  <c:v>3011</c:v>
                </c:pt>
                <c:pt idx="308">
                  <c:v>2687</c:v>
                </c:pt>
                <c:pt idx="309">
                  <c:v>1640</c:v>
                </c:pt>
                <c:pt idx="310">
                  <c:v>1707</c:v>
                </c:pt>
                <c:pt idx="311">
                  <c:v>1735</c:v>
                </c:pt>
                <c:pt idx="312">
                  <c:v>2766</c:v>
                </c:pt>
                <c:pt idx="313">
                  <c:v>1808</c:v>
                </c:pt>
                <c:pt idx="314">
                  <c:v>1518</c:v>
                </c:pt>
                <c:pt idx="315">
                  <c:v>1567</c:v>
                </c:pt>
                <c:pt idx="316">
                  <c:v>2524</c:v>
                </c:pt>
                <c:pt idx="317">
                  <c:v>2103</c:v>
                </c:pt>
                <c:pt idx="318">
                  <c:v>1700</c:v>
                </c:pt>
                <c:pt idx="319">
                  <c:v>1303</c:v>
                </c:pt>
                <c:pt idx="320">
                  <c:v>907</c:v>
                </c:pt>
                <c:pt idx="321">
                  <c:v>786</c:v>
                </c:pt>
                <c:pt idx="322">
                  <c:v>782</c:v>
                </c:pt>
                <c:pt idx="323">
                  <c:v>1135</c:v>
                </c:pt>
                <c:pt idx="324">
                  <c:v>1095</c:v>
                </c:pt>
                <c:pt idx="325">
                  <c:v>2474</c:v>
                </c:pt>
                <c:pt idx="326">
                  <c:v>1417</c:v>
                </c:pt>
                <c:pt idx="327">
                  <c:v>1568</c:v>
                </c:pt>
                <c:pt idx="328">
                  <c:v>1677</c:v>
                </c:pt>
                <c:pt idx="329">
                  <c:v>1717</c:v>
                </c:pt>
                <c:pt idx="330">
                  <c:v>1524</c:v>
                </c:pt>
                <c:pt idx="331">
                  <c:v>1311</c:v>
                </c:pt>
                <c:pt idx="332">
                  <c:v>1543</c:v>
                </c:pt>
                <c:pt idx="333">
                  <c:v>1527</c:v>
                </c:pt>
                <c:pt idx="334">
                  <c:v>1340</c:v>
                </c:pt>
                <c:pt idx="335">
                  <c:v>1450</c:v>
                </c:pt>
                <c:pt idx="336">
                  <c:v>1174</c:v>
                </c:pt>
                <c:pt idx="337">
                  <c:v>842</c:v>
                </c:pt>
                <c:pt idx="338">
                  <c:v>1019</c:v>
                </c:pt>
                <c:pt idx="339">
                  <c:v>932</c:v>
                </c:pt>
                <c:pt idx="340">
                  <c:v>810</c:v>
                </c:pt>
                <c:pt idx="341">
                  <c:v>637</c:v>
                </c:pt>
                <c:pt idx="342">
                  <c:v>664</c:v>
                </c:pt>
                <c:pt idx="343">
                  <c:v>754</c:v>
                </c:pt>
                <c:pt idx="344">
                  <c:v>1307</c:v>
                </c:pt>
                <c:pt idx="345">
                  <c:v>2912</c:v>
                </c:pt>
                <c:pt idx="346">
                  <c:v>4457</c:v>
                </c:pt>
                <c:pt idx="347">
                  <c:v>2758</c:v>
                </c:pt>
                <c:pt idx="348">
                  <c:v>842</c:v>
                </c:pt>
                <c:pt idx="349">
                  <c:v>901</c:v>
                </c:pt>
                <c:pt idx="350">
                  <c:v>1389</c:v>
                </c:pt>
                <c:pt idx="351">
                  <c:v>1662</c:v>
                </c:pt>
                <c:pt idx="352">
                  <c:v>1255</c:v>
                </c:pt>
                <c:pt idx="353">
                  <c:v>1095</c:v>
                </c:pt>
                <c:pt idx="354">
                  <c:v>1616</c:v>
                </c:pt>
                <c:pt idx="355">
                  <c:v>923</c:v>
                </c:pt>
                <c:pt idx="356">
                  <c:v>993</c:v>
                </c:pt>
                <c:pt idx="357">
                  <c:v>950</c:v>
                </c:pt>
                <c:pt idx="358">
                  <c:v>1382</c:v>
                </c:pt>
                <c:pt idx="359">
                  <c:v>1382</c:v>
                </c:pt>
                <c:pt idx="360">
                  <c:v>1308</c:v>
                </c:pt>
                <c:pt idx="361">
                  <c:v>812</c:v>
                </c:pt>
                <c:pt idx="362">
                  <c:v>968</c:v>
                </c:pt>
                <c:pt idx="363">
                  <c:v>804</c:v>
                </c:pt>
                <c:pt idx="364">
                  <c:v>7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B4-4ECD-8A43-BFFD4F1E8E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07512160"/>
        <c:axId val="1607511328"/>
      </c:barChart>
      <c:dateAx>
        <c:axId val="160751216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7511328"/>
        <c:crosses val="autoZero"/>
        <c:auto val="1"/>
        <c:lblOffset val="100"/>
        <c:baseTimeUnit val="days"/>
      </c:dateAx>
      <c:valAx>
        <c:axId val="16075113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07512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arch Impressions (Apple Search)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numRef>
              <c:f>Sheet1!$A$2:$A$366</c:f>
              <c:numCache>
                <c:formatCode>m/d/yyyy</c:formatCode>
                <c:ptCount val="365"/>
                <c:pt idx="0">
                  <c:v>43770</c:v>
                </c:pt>
                <c:pt idx="1">
                  <c:v>43771</c:v>
                </c:pt>
                <c:pt idx="2">
                  <c:v>43772</c:v>
                </c:pt>
                <c:pt idx="3">
                  <c:v>43773</c:v>
                </c:pt>
                <c:pt idx="4">
                  <c:v>43774</c:v>
                </c:pt>
                <c:pt idx="5">
                  <c:v>43775</c:v>
                </c:pt>
                <c:pt idx="6">
                  <c:v>43776</c:v>
                </c:pt>
                <c:pt idx="7">
                  <c:v>43777</c:v>
                </c:pt>
                <c:pt idx="8">
                  <c:v>43778</c:v>
                </c:pt>
                <c:pt idx="9">
                  <c:v>43779</c:v>
                </c:pt>
                <c:pt idx="10">
                  <c:v>43780</c:v>
                </c:pt>
                <c:pt idx="11">
                  <c:v>43781</c:v>
                </c:pt>
                <c:pt idx="12">
                  <c:v>43782</c:v>
                </c:pt>
                <c:pt idx="13">
                  <c:v>43783</c:v>
                </c:pt>
                <c:pt idx="14">
                  <c:v>43784</c:v>
                </c:pt>
                <c:pt idx="15">
                  <c:v>43785</c:v>
                </c:pt>
                <c:pt idx="16">
                  <c:v>43786</c:v>
                </c:pt>
                <c:pt idx="17">
                  <c:v>43787</c:v>
                </c:pt>
                <c:pt idx="18">
                  <c:v>43788</c:v>
                </c:pt>
                <c:pt idx="19">
                  <c:v>43789</c:v>
                </c:pt>
                <c:pt idx="20">
                  <c:v>43790</c:v>
                </c:pt>
                <c:pt idx="21">
                  <c:v>43791</c:v>
                </c:pt>
                <c:pt idx="22">
                  <c:v>43792</c:v>
                </c:pt>
                <c:pt idx="23">
                  <c:v>43793</c:v>
                </c:pt>
                <c:pt idx="24">
                  <c:v>43794</c:v>
                </c:pt>
                <c:pt idx="25">
                  <c:v>43795</c:v>
                </c:pt>
                <c:pt idx="26">
                  <c:v>43796</c:v>
                </c:pt>
                <c:pt idx="27">
                  <c:v>43797</c:v>
                </c:pt>
                <c:pt idx="28">
                  <c:v>43798</c:v>
                </c:pt>
                <c:pt idx="29">
                  <c:v>43799</c:v>
                </c:pt>
                <c:pt idx="30">
                  <c:v>43800</c:v>
                </c:pt>
                <c:pt idx="31">
                  <c:v>43801</c:v>
                </c:pt>
                <c:pt idx="32">
                  <c:v>43802</c:v>
                </c:pt>
                <c:pt idx="33">
                  <c:v>43803</c:v>
                </c:pt>
                <c:pt idx="34">
                  <c:v>43804</c:v>
                </c:pt>
                <c:pt idx="35">
                  <c:v>43805</c:v>
                </c:pt>
                <c:pt idx="36">
                  <c:v>43806</c:v>
                </c:pt>
                <c:pt idx="37">
                  <c:v>43807</c:v>
                </c:pt>
                <c:pt idx="38">
                  <c:v>43808</c:v>
                </c:pt>
                <c:pt idx="39">
                  <c:v>43809</c:v>
                </c:pt>
                <c:pt idx="40">
                  <c:v>43810</c:v>
                </c:pt>
                <c:pt idx="41">
                  <c:v>43811</c:v>
                </c:pt>
                <c:pt idx="42">
                  <c:v>43812</c:v>
                </c:pt>
                <c:pt idx="43">
                  <c:v>43813</c:v>
                </c:pt>
                <c:pt idx="44">
                  <c:v>43814</c:v>
                </c:pt>
                <c:pt idx="45">
                  <c:v>43815</c:v>
                </c:pt>
                <c:pt idx="46">
                  <c:v>43816</c:v>
                </c:pt>
                <c:pt idx="47">
                  <c:v>43817</c:v>
                </c:pt>
                <c:pt idx="48">
                  <c:v>43818</c:v>
                </c:pt>
                <c:pt idx="49">
                  <c:v>43819</c:v>
                </c:pt>
                <c:pt idx="50">
                  <c:v>43820</c:v>
                </c:pt>
                <c:pt idx="51">
                  <c:v>43821</c:v>
                </c:pt>
                <c:pt idx="52">
                  <c:v>43822</c:v>
                </c:pt>
                <c:pt idx="53">
                  <c:v>43823</c:v>
                </c:pt>
                <c:pt idx="54">
                  <c:v>43824</c:v>
                </c:pt>
                <c:pt idx="55">
                  <c:v>43825</c:v>
                </c:pt>
                <c:pt idx="56">
                  <c:v>43826</c:v>
                </c:pt>
                <c:pt idx="57">
                  <c:v>43827</c:v>
                </c:pt>
                <c:pt idx="58">
                  <c:v>43828</c:v>
                </c:pt>
                <c:pt idx="59">
                  <c:v>43829</c:v>
                </c:pt>
                <c:pt idx="60">
                  <c:v>43830</c:v>
                </c:pt>
                <c:pt idx="61">
                  <c:v>43831</c:v>
                </c:pt>
                <c:pt idx="62">
                  <c:v>43832</c:v>
                </c:pt>
                <c:pt idx="63">
                  <c:v>43833</c:v>
                </c:pt>
                <c:pt idx="64">
                  <c:v>43834</c:v>
                </c:pt>
                <c:pt idx="65">
                  <c:v>43835</c:v>
                </c:pt>
                <c:pt idx="66">
                  <c:v>43836</c:v>
                </c:pt>
                <c:pt idx="67">
                  <c:v>43837</c:v>
                </c:pt>
                <c:pt idx="68">
                  <c:v>43838</c:v>
                </c:pt>
                <c:pt idx="69">
                  <c:v>43839</c:v>
                </c:pt>
                <c:pt idx="70">
                  <c:v>43840</c:v>
                </c:pt>
                <c:pt idx="71">
                  <c:v>43841</c:v>
                </c:pt>
                <c:pt idx="72">
                  <c:v>43842</c:v>
                </c:pt>
                <c:pt idx="73">
                  <c:v>43843</c:v>
                </c:pt>
                <c:pt idx="74">
                  <c:v>43844</c:v>
                </c:pt>
                <c:pt idx="75">
                  <c:v>43845</c:v>
                </c:pt>
                <c:pt idx="76">
                  <c:v>43846</c:v>
                </c:pt>
                <c:pt idx="77">
                  <c:v>43847</c:v>
                </c:pt>
                <c:pt idx="78">
                  <c:v>43848</c:v>
                </c:pt>
                <c:pt idx="79">
                  <c:v>43849</c:v>
                </c:pt>
                <c:pt idx="80">
                  <c:v>43850</c:v>
                </c:pt>
                <c:pt idx="81">
                  <c:v>43851</c:v>
                </c:pt>
                <c:pt idx="82">
                  <c:v>43852</c:v>
                </c:pt>
                <c:pt idx="83">
                  <c:v>43853</c:v>
                </c:pt>
                <c:pt idx="84">
                  <c:v>43854</c:v>
                </c:pt>
                <c:pt idx="85">
                  <c:v>43855</c:v>
                </c:pt>
                <c:pt idx="86">
                  <c:v>43856</c:v>
                </c:pt>
                <c:pt idx="87">
                  <c:v>43857</c:v>
                </c:pt>
                <c:pt idx="88">
                  <c:v>43858</c:v>
                </c:pt>
                <c:pt idx="89">
                  <c:v>43859</c:v>
                </c:pt>
                <c:pt idx="90">
                  <c:v>43860</c:v>
                </c:pt>
                <c:pt idx="91">
                  <c:v>43861</c:v>
                </c:pt>
                <c:pt idx="92">
                  <c:v>43862</c:v>
                </c:pt>
                <c:pt idx="93">
                  <c:v>43863</c:v>
                </c:pt>
                <c:pt idx="94">
                  <c:v>43864</c:v>
                </c:pt>
                <c:pt idx="95">
                  <c:v>43865</c:v>
                </c:pt>
                <c:pt idx="96">
                  <c:v>43866</c:v>
                </c:pt>
                <c:pt idx="97">
                  <c:v>43867</c:v>
                </c:pt>
                <c:pt idx="98">
                  <c:v>43868</c:v>
                </c:pt>
                <c:pt idx="99">
                  <c:v>43869</c:v>
                </c:pt>
                <c:pt idx="100">
                  <c:v>43870</c:v>
                </c:pt>
                <c:pt idx="101">
                  <c:v>43871</c:v>
                </c:pt>
                <c:pt idx="102">
                  <c:v>43872</c:v>
                </c:pt>
                <c:pt idx="103">
                  <c:v>43873</c:v>
                </c:pt>
                <c:pt idx="104">
                  <c:v>43874</c:v>
                </c:pt>
                <c:pt idx="105">
                  <c:v>43875</c:v>
                </c:pt>
                <c:pt idx="106">
                  <c:v>43876</c:v>
                </c:pt>
                <c:pt idx="107">
                  <c:v>43877</c:v>
                </c:pt>
                <c:pt idx="108">
                  <c:v>43878</c:v>
                </c:pt>
                <c:pt idx="109">
                  <c:v>43879</c:v>
                </c:pt>
                <c:pt idx="110">
                  <c:v>43880</c:v>
                </c:pt>
                <c:pt idx="111">
                  <c:v>43881</c:v>
                </c:pt>
                <c:pt idx="112">
                  <c:v>43882</c:v>
                </c:pt>
                <c:pt idx="113">
                  <c:v>43883</c:v>
                </c:pt>
                <c:pt idx="114">
                  <c:v>43884</c:v>
                </c:pt>
                <c:pt idx="115">
                  <c:v>43885</c:v>
                </c:pt>
                <c:pt idx="116">
                  <c:v>43886</c:v>
                </c:pt>
                <c:pt idx="117">
                  <c:v>43887</c:v>
                </c:pt>
                <c:pt idx="118">
                  <c:v>43888</c:v>
                </c:pt>
                <c:pt idx="119">
                  <c:v>43889</c:v>
                </c:pt>
                <c:pt idx="120">
                  <c:v>43890</c:v>
                </c:pt>
                <c:pt idx="121">
                  <c:v>43891</c:v>
                </c:pt>
                <c:pt idx="122">
                  <c:v>43892</c:v>
                </c:pt>
                <c:pt idx="123">
                  <c:v>43893</c:v>
                </c:pt>
                <c:pt idx="124">
                  <c:v>43894</c:v>
                </c:pt>
                <c:pt idx="125">
                  <c:v>43895</c:v>
                </c:pt>
                <c:pt idx="126">
                  <c:v>43896</c:v>
                </c:pt>
                <c:pt idx="127">
                  <c:v>43897</c:v>
                </c:pt>
                <c:pt idx="128">
                  <c:v>43898</c:v>
                </c:pt>
                <c:pt idx="129">
                  <c:v>43899</c:v>
                </c:pt>
                <c:pt idx="130">
                  <c:v>43900</c:v>
                </c:pt>
                <c:pt idx="131">
                  <c:v>43901</c:v>
                </c:pt>
                <c:pt idx="132">
                  <c:v>43902</c:v>
                </c:pt>
                <c:pt idx="133">
                  <c:v>43903</c:v>
                </c:pt>
                <c:pt idx="134">
                  <c:v>43904</c:v>
                </c:pt>
                <c:pt idx="135">
                  <c:v>43905</c:v>
                </c:pt>
                <c:pt idx="136">
                  <c:v>43906</c:v>
                </c:pt>
                <c:pt idx="137">
                  <c:v>43907</c:v>
                </c:pt>
                <c:pt idx="138">
                  <c:v>43908</c:v>
                </c:pt>
                <c:pt idx="139">
                  <c:v>43909</c:v>
                </c:pt>
                <c:pt idx="140">
                  <c:v>43910</c:v>
                </c:pt>
                <c:pt idx="141">
                  <c:v>43911</c:v>
                </c:pt>
                <c:pt idx="142">
                  <c:v>43912</c:v>
                </c:pt>
                <c:pt idx="143">
                  <c:v>43913</c:v>
                </c:pt>
                <c:pt idx="144">
                  <c:v>43914</c:v>
                </c:pt>
                <c:pt idx="145">
                  <c:v>43915</c:v>
                </c:pt>
                <c:pt idx="146">
                  <c:v>43916</c:v>
                </c:pt>
                <c:pt idx="147">
                  <c:v>43917</c:v>
                </c:pt>
                <c:pt idx="148">
                  <c:v>43918</c:v>
                </c:pt>
                <c:pt idx="149">
                  <c:v>43919</c:v>
                </c:pt>
                <c:pt idx="150">
                  <c:v>43920</c:v>
                </c:pt>
                <c:pt idx="151">
                  <c:v>43921</c:v>
                </c:pt>
                <c:pt idx="152">
                  <c:v>43922</c:v>
                </c:pt>
                <c:pt idx="153">
                  <c:v>43923</c:v>
                </c:pt>
                <c:pt idx="154">
                  <c:v>43924</c:v>
                </c:pt>
                <c:pt idx="155">
                  <c:v>43925</c:v>
                </c:pt>
                <c:pt idx="156">
                  <c:v>43926</c:v>
                </c:pt>
                <c:pt idx="157">
                  <c:v>43927</c:v>
                </c:pt>
                <c:pt idx="158">
                  <c:v>43928</c:v>
                </c:pt>
                <c:pt idx="159">
                  <c:v>43929</c:v>
                </c:pt>
                <c:pt idx="160">
                  <c:v>43930</c:v>
                </c:pt>
                <c:pt idx="161">
                  <c:v>43931</c:v>
                </c:pt>
                <c:pt idx="162">
                  <c:v>43932</c:v>
                </c:pt>
                <c:pt idx="163">
                  <c:v>43933</c:v>
                </c:pt>
                <c:pt idx="164">
                  <c:v>43934</c:v>
                </c:pt>
                <c:pt idx="165">
                  <c:v>43935</c:v>
                </c:pt>
                <c:pt idx="166">
                  <c:v>43936</c:v>
                </c:pt>
                <c:pt idx="167">
                  <c:v>43937</c:v>
                </c:pt>
                <c:pt idx="168">
                  <c:v>43938</c:v>
                </c:pt>
                <c:pt idx="169">
                  <c:v>43939</c:v>
                </c:pt>
                <c:pt idx="170">
                  <c:v>43940</c:v>
                </c:pt>
                <c:pt idx="171">
                  <c:v>43941</c:v>
                </c:pt>
                <c:pt idx="172">
                  <c:v>43942</c:v>
                </c:pt>
                <c:pt idx="173">
                  <c:v>43943</c:v>
                </c:pt>
                <c:pt idx="174">
                  <c:v>43944</c:v>
                </c:pt>
                <c:pt idx="175">
                  <c:v>43945</c:v>
                </c:pt>
                <c:pt idx="176">
                  <c:v>43946</c:v>
                </c:pt>
                <c:pt idx="177">
                  <c:v>43947</c:v>
                </c:pt>
                <c:pt idx="178">
                  <c:v>43948</c:v>
                </c:pt>
                <c:pt idx="179">
                  <c:v>43949</c:v>
                </c:pt>
                <c:pt idx="180">
                  <c:v>43950</c:v>
                </c:pt>
                <c:pt idx="181">
                  <c:v>43951</c:v>
                </c:pt>
                <c:pt idx="182">
                  <c:v>43952</c:v>
                </c:pt>
                <c:pt idx="183">
                  <c:v>43953</c:v>
                </c:pt>
                <c:pt idx="184">
                  <c:v>43954</c:v>
                </c:pt>
                <c:pt idx="185">
                  <c:v>43955</c:v>
                </c:pt>
                <c:pt idx="186">
                  <c:v>43956</c:v>
                </c:pt>
                <c:pt idx="187">
                  <c:v>43957</c:v>
                </c:pt>
                <c:pt idx="188">
                  <c:v>43958</c:v>
                </c:pt>
                <c:pt idx="189">
                  <c:v>43959</c:v>
                </c:pt>
                <c:pt idx="190">
                  <c:v>43960</c:v>
                </c:pt>
                <c:pt idx="191">
                  <c:v>43961</c:v>
                </c:pt>
                <c:pt idx="192">
                  <c:v>43962</c:v>
                </c:pt>
                <c:pt idx="193">
                  <c:v>43963</c:v>
                </c:pt>
                <c:pt idx="194">
                  <c:v>43964</c:v>
                </c:pt>
                <c:pt idx="195">
                  <c:v>43965</c:v>
                </c:pt>
                <c:pt idx="196">
                  <c:v>43966</c:v>
                </c:pt>
                <c:pt idx="197">
                  <c:v>43967</c:v>
                </c:pt>
                <c:pt idx="198">
                  <c:v>43968</c:v>
                </c:pt>
                <c:pt idx="199">
                  <c:v>43969</c:v>
                </c:pt>
                <c:pt idx="200">
                  <c:v>43970</c:v>
                </c:pt>
                <c:pt idx="201">
                  <c:v>43971</c:v>
                </c:pt>
                <c:pt idx="202">
                  <c:v>43972</c:v>
                </c:pt>
                <c:pt idx="203">
                  <c:v>43973</c:v>
                </c:pt>
                <c:pt idx="204">
                  <c:v>43974</c:v>
                </c:pt>
                <c:pt idx="205">
                  <c:v>43975</c:v>
                </c:pt>
                <c:pt idx="206">
                  <c:v>43976</c:v>
                </c:pt>
                <c:pt idx="207">
                  <c:v>43977</c:v>
                </c:pt>
                <c:pt idx="208">
                  <c:v>43978</c:v>
                </c:pt>
                <c:pt idx="209">
                  <c:v>43979</c:v>
                </c:pt>
                <c:pt idx="210">
                  <c:v>43980</c:v>
                </c:pt>
                <c:pt idx="211">
                  <c:v>43981</c:v>
                </c:pt>
                <c:pt idx="212">
                  <c:v>43982</c:v>
                </c:pt>
                <c:pt idx="213">
                  <c:v>43983</c:v>
                </c:pt>
                <c:pt idx="214">
                  <c:v>43984</c:v>
                </c:pt>
                <c:pt idx="215">
                  <c:v>43985</c:v>
                </c:pt>
                <c:pt idx="216">
                  <c:v>43986</c:v>
                </c:pt>
                <c:pt idx="217">
                  <c:v>43987</c:v>
                </c:pt>
                <c:pt idx="218">
                  <c:v>43988</c:v>
                </c:pt>
                <c:pt idx="219">
                  <c:v>43989</c:v>
                </c:pt>
                <c:pt idx="220">
                  <c:v>43990</c:v>
                </c:pt>
                <c:pt idx="221">
                  <c:v>43991</c:v>
                </c:pt>
                <c:pt idx="222">
                  <c:v>43992</c:v>
                </c:pt>
                <c:pt idx="223">
                  <c:v>43993</c:v>
                </c:pt>
                <c:pt idx="224">
                  <c:v>43994</c:v>
                </c:pt>
                <c:pt idx="225">
                  <c:v>43995</c:v>
                </c:pt>
                <c:pt idx="226">
                  <c:v>43996</c:v>
                </c:pt>
                <c:pt idx="227">
                  <c:v>43997</c:v>
                </c:pt>
                <c:pt idx="228">
                  <c:v>43998</c:v>
                </c:pt>
                <c:pt idx="229">
                  <c:v>43999</c:v>
                </c:pt>
                <c:pt idx="230">
                  <c:v>44000</c:v>
                </c:pt>
                <c:pt idx="231">
                  <c:v>44001</c:v>
                </c:pt>
                <c:pt idx="232">
                  <c:v>44002</c:v>
                </c:pt>
                <c:pt idx="233">
                  <c:v>44003</c:v>
                </c:pt>
                <c:pt idx="234">
                  <c:v>44004</c:v>
                </c:pt>
                <c:pt idx="235">
                  <c:v>44005</c:v>
                </c:pt>
                <c:pt idx="236">
                  <c:v>44006</c:v>
                </c:pt>
                <c:pt idx="237">
                  <c:v>44007</c:v>
                </c:pt>
                <c:pt idx="238">
                  <c:v>44008</c:v>
                </c:pt>
                <c:pt idx="239">
                  <c:v>44009</c:v>
                </c:pt>
                <c:pt idx="240">
                  <c:v>44010</c:v>
                </c:pt>
                <c:pt idx="241">
                  <c:v>44011</c:v>
                </c:pt>
                <c:pt idx="242">
                  <c:v>44012</c:v>
                </c:pt>
                <c:pt idx="243">
                  <c:v>44013</c:v>
                </c:pt>
                <c:pt idx="244">
                  <c:v>44014</c:v>
                </c:pt>
                <c:pt idx="245">
                  <c:v>44015</c:v>
                </c:pt>
                <c:pt idx="246">
                  <c:v>44016</c:v>
                </c:pt>
                <c:pt idx="247">
                  <c:v>44017</c:v>
                </c:pt>
                <c:pt idx="248">
                  <c:v>44018</c:v>
                </c:pt>
                <c:pt idx="249">
                  <c:v>44019</c:v>
                </c:pt>
                <c:pt idx="250">
                  <c:v>44020</c:v>
                </c:pt>
                <c:pt idx="251">
                  <c:v>44021</c:v>
                </c:pt>
                <c:pt idx="252">
                  <c:v>44022</c:v>
                </c:pt>
                <c:pt idx="253">
                  <c:v>44023</c:v>
                </c:pt>
                <c:pt idx="254">
                  <c:v>44024</c:v>
                </c:pt>
                <c:pt idx="255">
                  <c:v>44025</c:v>
                </c:pt>
                <c:pt idx="256">
                  <c:v>44026</c:v>
                </c:pt>
                <c:pt idx="257">
                  <c:v>44027</c:v>
                </c:pt>
                <c:pt idx="258">
                  <c:v>44028</c:v>
                </c:pt>
                <c:pt idx="259">
                  <c:v>44029</c:v>
                </c:pt>
                <c:pt idx="260">
                  <c:v>44030</c:v>
                </c:pt>
                <c:pt idx="261">
                  <c:v>44031</c:v>
                </c:pt>
                <c:pt idx="262">
                  <c:v>44032</c:v>
                </c:pt>
                <c:pt idx="263">
                  <c:v>44033</c:v>
                </c:pt>
                <c:pt idx="264">
                  <c:v>44034</c:v>
                </c:pt>
                <c:pt idx="265">
                  <c:v>44035</c:v>
                </c:pt>
                <c:pt idx="266">
                  <c:v>44036</c:v>
                </c:pt>
                <c:pt idx="267">
                  <c:v>44037</c:v>
                </c:pt>
                <c:pt idx="268">
                  <c:v>44038</c:v>
                </c:pt>
                <c:pt idx="269">
                  <c:v>44039</c:v>
                </c:pt>
                <c:pt idx="270">
                  <c:v>44040</c:v>
                </c:pt>
                <c:pt idx="271">
                  <c:v>44041</c:v>
                </c:pt>
                <c:pt idx="272">
                  <c:v>44042</c:v>
                </c:pt>
                <c:pt idx="273">
                  <c:v>44043</c:v>
                </c:pt>
                <c:pt idx="274">
                  <c:v>44044</c:v>
                </c:pt>
                <c:pt idx="275">
                  <c:v>44045</c:v>
                </c:pt>
                <c:pt idx="276">
                  <c:v>44046</c:v>
                </c:pt>
                <c:pt idx="277">
                  <c:v>44047</c:v>
                </c:pt>
                <c:pt idx="278">
                  <c:v>44048</c:v>
                </c:pt>
                <c:pt idx="279">
                  <c:v>44049</c:v>
                </c:pt>
                <c:pt idx="280">
                  <c:v>44050</c:v>
                </c:pt>
                <c:pt idx="281">
                  <c:v>44051</c:v>
                </c:pt>
                <c:pt idx="282">
                  <c:v>44052</c:v>
                </c:pt>
                <c:pt idx="283">
                  <c:v>44053</c:v>
                </c:pt>
                <c:pt idx="284">
                  <c:v>44054</c:v>
                </c:pt>
                <c:pt idx="285">
                  <c:v>44055</c:v>
                </c:pt>
                <c:pt idx="286">
                  <c:v>44056</c:v>
                </c:pt>
                <c:pt idx="287">
                  <c:v>44057</c:v>
                </c:pt>
                <c:pt idx="288">
                  <c:v>44058</c:v>
                </c:pt>
                <c:pt idx="289">
                  <c:v>44059</c:v>
                </c:pt>
                <c:pt idx="290">
                  <c:v>44060</c:v>
                </c:pt>
                <c:pt idx="291">
                  <c:v>44061</c:v>
                </c:pt>
                <c:pt idx="292">
                  <c:v>44062</c:v>
                </c:pt>
                <c:pt idx="293">
                  <c:v>44063</c:v>
                </c:pt>
                <c:pt idx="294">
                  <c:v>44064</c:v>
                </c:pt>
                <c:pt idx="295">
                  <c:v>44065</c:v>
                </c:pt>
                <c:pt idx="296">
                  <c:v>44066</c:v>
                </c:pt>
                <c:pt idx="297">
                  <c:v>44067</c:v>
                </c:pt>
                <c:pt idx="298">
                  <c:v>44068</c:v>
                </c:pt>
                <c:pt idx="299">
                  <c:v>44069</c:v>
                </c:pt>
                <c:pt idx="300">
                  <c:v>44070</c:v>
                </c:pt>
                <c:pt idx="301">
                  <c:v>44071</c:v>
                </c:pt>
                <c:pt idx="302">
                  <c:v>44072</c:v>
                </c:pt>
                <c:pt idx="303">
                  <c:v>44073</c:v>
                </c:pt>
                <c:pt idx="304">
                  <c:v>44074</c:v>
                </c:pt>
                <c:pt idx="305">
                  <c:v>44075</c:v>
                </c:pt>
                <c:pt idx="306">
                  <c:v>44076</c:v>
                </c:pt>
                <c:pt idx="307">
                  <c:v>44077</c:v>
                </c:pt>
                <c:pt idx="308">
                  <c:v>44078</c:v>
                </c:pt>
                <c:pt idx="309">
                  <c:v>44079</c:v>
                </c:pt>
                <c:pt idx="310">
                  <c:v>44080</c:v>
                </c:pt>
                <c:pt idx="311">
                  <c:v>44081</c:v>
                </c:pt>
                <c:pt idx="312">
                  <c:v>44082</c:v>
                </c:pt>
                <c:pt idx="313">
                  <c:v>44083</c:v>
                </c:pt>
                <c:pt idx="314">
                  <c:v>44084</c:v>
                </c:pt>
                <c:pt idx="315">
                  <c:v>44085</c:v>
                </c:pt>
                <c:pt idx="316">
                  <c:v>44086</c:v>
                </c:pt>
                <c:pt idx="317">
                  <c:v>44087</c:v>
                </c:pt>
                <c:pt idx="318">
                  <c:v>44088</c:v>
                </c:pt>
                <c:pt idx="319">
                  <c:v>44089</c:v>
                </c:pt>
                <c:pt idx="320">
                  <c:v>44090</c:v>
                </c:pt>
                <c:pt idx="321">
                  <c:v>44091</c:v>
                </c:pt>
                <c:pt idx="322">
                  <c:v>44092</c:v>
                </c:pt>
                <c:pt idx="323">
                  <c:v>44093</c:v>
                </c:pt>
                <c:pt idx="324">
                  <c:v>44094</c:v>
                </c:pt>
                <c:pt idx="325">
                  <c:v>44095</c:v>
                </c:pt>
                <c:pt idx="326">
                  <c:v>44096</c:v>
                </c:pt>
                <c:pt idx="327">
                  <c:v>44097</c:v>
                </c:pt>
                <c:pt idx="328">
                  <c:v>44098</c:v>
                </c:pt>
                <c:pt idx="329">
                  <c:v>44099</c:v>
                </c:pt>
                <c:pt idx="330">
                  <c:v>44100</c:v>
                </c:pt>
                <c:pt idx="331">
                  <c:v>44101</c:v>
                </c:pt>
                <c:pt idx="332">
                  <c:v>44102</c:v>
                </c:pt>
                <c:pt idx="333">
                  <c:v>44103</c:v>
                </c:pt>
                <c:pt idx="334">
                  <c:v>44104</c:v>
                </c:pt>
                <c:pt idx="335">
                  <c:v>44105</c:v>
                </c:pt>
                <c:pt idx="336">
                  <c:v>44106</c:v>
                </c:pt>
                <c:pt idx="337">
                  <c:v>44107</c:v>
                </c:pt>
                <c:pt idx="338">
                  <c:v>44108</c:v>
                </c:pt>
                <c:pt idx="339">
                  <c:v>44109</c:v>
                </c:pt>
                <c:pt idx="340">
                  <c:v>44110</c:v>
                </c:pt>
                <c:pt idx="341">
                  <c:v>44111</c:v>
                </c:pt>
                <c:pt idx="342">
                  <c:v>44112</c:v>
                </c:pt>
                <c:pt idx="343">
                  <c:v>44113</c:v>
                </c:pt>
                <c:pt idx="344">
                  <c:v>44114</c:v>
                </c:pt>
                <c:pt idx="345">
                  <c:v>44115</c:v>
                </c:pt>
                <c:pt idx="346">
                  <c:v>44116</c:v>
                </c:pt>
                <c:pt idx="347">
                  <c:v>44117</c:v>
                </c:pt>
                <c:pt idx="348">
                  <c:v>44118</c:v>
                </c:pt>
                <c:pt idx="349">
                  <c:v>44119</c:v>
                </c:pt>
                <c:pt idx="350">
                  <c:v>44120</c:v>
                </c:pt>
                <c:pt idx="351">
                  <c:v>44121</c:v>
                </c:pt>
                <c:pt idx="352">
                  <c:v>44122</c:v>
                </c:pt>
                <c:pt idx="353">
                  <c:v>44123</c:v>
                </c:pt>
                <c:pt idx="354">
                  <c:v>44124</c:v>
                </c:pt>
                <c:pt idx="355">
                  <c:v>44125</c:v>
                </c:pt>
                <c:pt idx="356">
                  <c:v>44126</c:v>
                </c:pt>
                <c:pt idx="357">
                  <c:v>44127</c:v>
                </c:pt>
                <c:pt idx="358">
                  <c:v>44128</c:v>
                </c:pt>
                <c:pt idx="359">
                  <c:v>44129</c:v>
                </c:pt>
                <c:pt idx="360">
                  <c:v>44130</c:v>
                </c:pt>
                <c:pt idx="361">
                  <c:v>44131</c:v>
                </c:pt>
                <c:pt idx="362">
                  <c:v>44132</c:v>
                </c:pt>
                <c:pt idx="363">
                  <c:v>44133</c:v>
                </c:pt>
                <c:pt idx="364">
                  <c:v>44134</c:v>
                </c:pt>
              </c:numCache>
            </c:numRef>
          </c:cat>
          <c:val>
            <c:numRef>
              <c:f>Sheet1!$B$2:$B$366</c:f>
              <c:numCache>
                <c:formatCode>General</c:formatCode>
                <c:ptCount val="365"/>
                <c:pt idx="0">
                  <c:v>955</c:v>
                </c:pt>
                <c:pt idx="1">
                  <c:v>3481</c:v>
                </c:pt>
                <c:pt idx="2">
                  <c:v>1026</c:v>
                </c:pt>
                <c:pt idx="3">
                  <c:v>878</c:v>
                </c:pt>
                <c:pt idx="4">
                  <c:v>726</c:v>
                </c:pt>
                <c:pt idx="5">
                  <c:v>710</c:v>
                </c:pt>
                <c:pt idx="6">
                  <c:v>134</c:v>
                </c:pt>
                <c:pt idx="7">
                  <c:v>44</c:v>
                </c:pt>
                <c:pt idx="8">
                  <c:v>590</c:v>
                </c:pt>
                <c:pt idx="9">
                  <c:v>870</c:v>
                </c:pt>
                <c:pt idx="10">
                  <c:v>1175</c:v>
                </c:pt>
                <c:pt idx="11">
                  <c:v>723</c:v>
                </c:pt>
                <c:pt idx="12">
                  <c:v>620</c:v>
                </c:pt>
                <c:pt idx="13">
                  <c:v>595</c:v>
                </c:pt>
                <c:pt idx="14">
                  <c:v>846</c:v>
                </c:pt>
                <c:pt idx="15">
                  <c:v>822</c:v>
                </c:pt>
                <c:pt idx="16">
                  <c:v>951</c:v>
                </c:pt>
                <c:pt idx="17">
                  <c:v>826</c:v>
                </c:pt>
                <c:pt idx="18">
                  <c:v>949</c:v>
                </c:pt>
                <c:pt idx="19">
                  <c:v>1003</c:v>
                </c:pt>
                <c:pt idx="20">
                  <c:v>976</c:v>
                </c:pt>
                <c:pt idx="21">
                  <c:v>1090</c:v>
                </c:pt>
                <c:pt idx="22">
                  <c:v>703</c:v>
                </c:pt>
                <c:pt idx="23">
                  <c:v>982</c:v>
                </c:pt>
                <c:pt idx="24">
                  <c:v>844</c:v>
                </c:pt>
                <c:pt idx="25">
                  <c:v>1005</c:v>
                </c:pt>
                <c:pt idx="26">
                  <c:v>1112</c:v>
                </c:pt>
                <c:pt idx="27">
                  <c:v>1140</c:v>
                </c:pt>
                <c:pt idx="28">
                  <c:v>1194</c:v>
                </c:pt>
                <c:pt idx="29">
                  <c:v>1271</c:v>
                </c:pt>
                <c:pt idx="30">
                  <c:v>1019</c:v>
                </c:pt>
                <c:pt idx="31">
                  <c:v>760</c:v>
                </c:pt>
                <c:pt idx="32">
                  <c:v>1038</c:v>
                </c:pt>
                <c:pt idx="33">
                  <c:v>960</c:v>
                </c:pt>
                <c:pt idx="34">
                  <c:v>852</c:v>
                </c:pt>
                <c:pt idx="35">
                  <c:v>992</c:v>
                </c:pt>
                <c:pt idx="36">
                  <c:v>752</c:v>
                </c:pt>
                <c:pt idx="37">
                  <c:v>1035</c:v>
                </c:pt>
                <c:pt idx="38">
                  <c:v>899</c:v>
                </c:pt>
                <c:pt idx="39">
                  <c:v>837</c:v>
                </c:pt>
                <c:pt idx="40">
                  <c:v>1014</c:v>
                </c:pt>
                <c:pt idx="41">
                  <c:v>866</c:v>
                </c:pt>
                <c:pt idx="42">
                  <c:v>1116</c:v>
                </c:pt>
                <c:pt idx="43">
                  <c:v>1299</c:v>
                </c:pt>
                <c:pt idx="44">
                  <c:v>1782</c:v>
                </c:pt>
                <c:pt idx="45">
                  <c:v>1520</c:v>
                </c:pt>
                <c:pt idx="46">
                  <c:v>827</c:v>
                </c:pt>
                <c:pt idx="47">
                  <c:v>874</c:v>
                </c:pt>
                <c:pt idx="48">
                  <c:v>614</c:v>
                </c:pt>
                <c:pt idx="49">
                  <c:v>964</c:v>
                </c:pt>
                <c:pt idx="50">
                  <c:v>932</c:v>
                </c:pt>
                <c:pt idx="51">
                  <c:v>918</c:v>
                </c:pt>
                <c:pt idx="52">
                  <c:v>1213</c:v>
                </c:pt>
                <c:pt idx="53">
                  <c:v>833</c:v>
                </c:pt>
                <c:pt idx="54">
                  <c:v>1065</c:v>
                </c:pt>
                <c:pt idx="55">
                  <c:v>1841</c:v>
                </c:pt>
                <c:pt idx="56">
                  <c:v>732</c:v>
                </c:pt>
                <c:pt idx="57">
                  <c:v>1139</c:v>
                </c:pt>
                <c:pt idx="58">
                  <c:v>1407</c:v>
                </c:pt>
                <c:pt idx="59">
                  <c:v>968</c:v>
                </c:pt>
                <c:pt idx="60">
                  <c:v>922</c:v>
                </c:pt>
                <c:pt idx="61">
                  <c:v>1004</c:v>
                </c:pt>
                <c:pt idx="62">
                  <c:v>979</c:v>
                </c:pt>
                <c:pt idx="63">
                  <c:v>598</c:v>
                </c:pt>
                <c:pt idx="64">
                  <c:v>659</c:v>
                </c:pt>
                <c:pt idx="65">
                  <c:v>834</c:v>
                </c:pt>
                <c:pt idx="66">
                  <c:v>728</c:v>
                </c:pt>
                <c:pt idx="67">
                  <c:v>498</c:v>
                </c:pt>
                <c:pt idx="68">
                  <c:v>603</c:v>
                </c:pt>
                <c:pt idx="69">
                  <c:v>395</c:v>
                </c:pt>
                <c:pt idx="70">
                  <c:v>546</c:v>
                </c:pt>
                <c:pt idx="71">
                  <c:v>1887</c:v>
                </c:pt>
                <c:pt idx="72">
                  <c:v>1962</c:v>
                </c:pt>
                <c:pt idx="73">
                  <c:v>546</c:v>
                </c:pt>
                <c:pt idx="74">
                  <c:v>436</c:v>
                </c:pt>
                <c:pt idx="75">
                  <c:v>392</c:v>
                </c:pt>
                <c:pt idx="76">
                  <c:v>412</c:v>
                </c:pt>
                <c:pt idx="77">
                  <c:v>393</c:v>
                </c:pt>
                <c:pt idx="78">
                  <c:v>621</c:v>
                </c:pt>
                <c:pt idx="79">
                  <c:v>829</c:v>
                </c:pt>
                <c:pt idx="80">
                  <c:v>887</c:v>
                </c:pt>
                <c:pt idx="81">
                  <c:v>634</c:v>
                </c:pt>
                <c:pt idx="82">
                  <c:v>462</c:v>
                </c:pt>
                <c:pt idx="83">
                  <c:v>501</c:v>
                </c:pt>
                <c:pt idx="84">
                  <c:v>521</c:v>
                </c:pt>
                <c:pt idx="85">
                  <c:v>651</c:v>
                </c:pt>
                <c:pt idx="86">
                  <c:v>812</c:v>
                </c:pt>
                <c:pt idx="87">
                  <c:v>664</c:v>
                </c:pt>
                <c:pt idx="88">
                  <c:v>579</c:v>
                </c:pt>
                <c:pt idx="89">
                  <c:v>457</c:v>
                </c:pt>
                <c:pt idx="90">
                  <c:v>626</c:v>
                </c:pt>
                <c:pt idx="91">
                  <c:v>743</c:v>
                </c:pt>
                <c:pt idx="92">
                  <c:v>1036</c:v>
                </c:pt>
                <c:pt idx="93">
                  <c:v>1351</c:v>
                </c:pt>
                <c:pt idx="94">
                  <c:v>1233</c:v>
                </c:pt>
                <c:pt idx="95">
                  <c:v>662</c:v>
                </c:pt>
                <c:pt idx="96">
                  <c:v>399</c:v>
                </c:pt>
                <c:pt idx="97">
                  <c:v>341</c:v>
                </c:pt>
                <c:pt idx="98">
                  <c:v>404</c:v>
                </c:pt>
                <c:pt idx="99">
                  <c:v>505</c:v>
                </c:pt>
                <c:pt idx="100">
                  <c:v>648</c:v>
                </c:pt>
                <c:pt idx="101">
                  <c:v>580</c:v>
                </c:pt>
                <c:pt idx="102">
                  <c:v>416</c:v>
                </c:pt>
                <c:pt idx="103">
                  <c:v>422</c:v>
                </c:pt>
                <c:pt idx="104">
                  <c:v>369</c:v>
                </c:pt>
                <c:pt idx="105">
                  <c:v>447</c:v>
                </c:pt>
                <c:pt idx="106">
                  <c:v>727</c:v>
                </c:pt>
                <c:pt idx="107">
                  <c:v>585</c:v>
                </c:pt>
                <c:pt idx="108">
                  <c:v>546</c:v>
                </c:pt>
                <c:pt idx="109">
                  <c:v>444</c:v>
                </c:pt>
                <c:pt idx="110">
                  <c:v>444</c:v>
                </c:pt>
                <c:pt idx="111">
                  <c:v>612</c:v>
                </c:pt>
                <c:pt idx="112">
                  <c:v>655</c:v>
                </c:pt>
                <c:pt idx="113">
                  <c:v>507</c:v>
                </c:pt>
                <c:pt idx="114">
                  <c:v>549</c:v>
                </c:pt>
                <c:pt idx="115">
                  <c:v>563</c:v>
                </c:pt>
                <c:pt idx="116">
                  <c:v>440</c:v>
                </c:pt>
                <c:pt idx="117">
                  <c:v>368</c:v>
                </c:pt>
                <c:pt idx="118">
                  <c:v>489</c:v>
                </c:pt>
                <c:pt idx="119">
                  <c:v>468</c:v>
                </c:pt>
                <c:pt idx="120">
                  <c:v>528</c:v>
                </c:pt>
                <c:pt idx="121">
                  <c:v>725</c:v>
                </c:pt>
                <c:pt idx="122">
                  <c:v>764</c:v>
                </c:pt>
                <c:pt idx="123">
                  <c:v>551</c:v>
                </c:pt>
                <c:pt idx="124">
                  <c:v>398</c:v>
                </c:pt>
                <c:pt idx="125">
                  <c:v>499</c:v>
                </c:pt>
                <c:pt idx="126">
                  <c:v>1504</c:v>
                </c:pt>
                <c:pt idx="127">
                  <c:v>514</c:v>
                </c:pt>
                <c:pt idx="128">
                  <c:v>897</c:v>
                </c:pt>
                <c:pt idx="129">
                  <c:v>634</c:v>
                </c:pt>
                <c:pt idx="130">
                  <c:v>335</c:v>
                </c:pt>
                <c:pt idx="131">
                  <c:v>362</c:v>
                </c:pt>
                <c:pt idx="132">
                  <c:v>421</c:v>
                </c:pt>
                <c:pt idx="133">
                  <c:v>384</c:v>
                </c:pt>
                <c:pt idx="134">
                  <c:v>534</c:v>
                </c:pt>
                <c:pt idx="135">
                  <c:v>474</c:v>
                </c:pt>
                <c:pt idx="136">
                  <c:v>576</c:v>
                </c:pt>
                <c:pt idx="137">
                  <c:v>494</c:v>
                </c:pt>
                <c:pt idx="138">
                  <c:v>524</c:v>
                </c:pt>
                <c:pt idx="139">
                  <c:v>549</c:v>
                </c:pt>
                <c:pt idx="140">
                  <c:v>638</c:v>
                </c:pt>
                <c:pt idx="141">
                  <c:v>563</c:v>
                </c:pt>
                <c:pt idx="142">
                  <c:v>548</c:v>
                </c:pt>
                <c:pt idx="143">
                  <c:v>582</c:v>
                </c:pt>
                <c:pt idx="144">
                  <c:v>537</c:v>
                </c:pt>
                <c:pt idx="145">
                  <c:v>430</c:v>
                </c:pt>
                <c:pt idx="146">
                  <c:v>380</c:v>
                </c:pt>
                <c:pt idx="147">
                  <c:v>525</c:v>
                </c:pt>
                <c:pt idx="148">
                  <c:v>478</c:v>
                </c:pt>
                <c:pt idx="149">
                  <c:v>472</c:v>
                </c:pt>
                <c:pt idx="150">
                  <c:v>609</c:v>
                </c:pt>
                <c:pt idx="151">
                  <c:v>1012</c:v>
                </c:pt>
                <c:pt idx="152">
                  <c:v>2109</c:v>
                </c:pt>
                <c:pt idx="153">
                  <c:v>1649</c:v>
                </c:pt>
                <c:pt idx="154">
                  <c:v>901</c:v>
                </c:pt>
                <c:pt idx="155">
                  <c:v>1138</c:v>
                </c:pt>
                <c:pt idx="156">
                  <c:v>1335</c:v>
                </c:pt>
                <c:pt idx="157">
                  <c:v>1058</c:v>
                </c:pt>
                <c:pt idx="158">
                  <c:v>1547</c:v>
                </c:pt>
                <c:pt idx="159">
                  <c:v>1212</c:v>
                </c:pt>
                <c:pt idx="160">
                  <c:v>1514</c:v>
                </c:pt>
                <c:pt idx="161">
                  <c:v>651</c:v>
                </c:pt>
                <c:pt idx="162">
                  <c:v>750</c:v>
                </c:pt>
                <c:pt idx="163">
                  <c:v>734</c:v>
                </c:pt>
                <c:pt idx="164">
                  <c:v>679</c:v>
                </c:pt>
                <c:pt idx="165">
                  <c:v>579</c:v>
                </c:pt>
                <c:pt idx="166">
                  <c:v>632</c:v>
                </c:pt>
                <c:pt idx="167">
                  <c:v>748</c:v>
                </c:pt>
                <c:pt idx="168">
                  <c:v>587</c:v>
                </c:pt>
                <c:pt idx="169">
                  <c:v>566</c:v>
                </c:pt>
                <c:pt idx="170">
                  <c:v>429</c:v>
                </c:pt>
                <c:pt idx="171">
                  <c:v>427</c:v>
                </c:pt>
                <c:pt idx="172">
                  <c:v>442</c:v>
                </c:pt>
                <c:pt idx="173">
                  <c:v>406</c:v>
                </c:pt>
                <c:pt idx="174">
                  <c:v>516</c:v>
                </c:pt>
                <c:pt idx="175">
                  <c:v>568</c:v>
                </c:pt>
                <c:pt idx="176">
                  <c:v>521</c:v>
                </c:pt>
                <c:pt idx="177">
                  <c:v>574</c:v>
                </c:pt>
                <c:pt idx="178">
                  <c:v>552</c:v>
                </c:pt>
                <c:pt idx="179">
                  <c:v>5791</c:v>
                </c:pt>
                <c:pt idx="180">
                  <c:v>3694</c:v>
                </c:pt>
                <c:pt idx="181">
                  <c:v>591</c:v>
                </c:pt>
                <c:pt idx="182">
                  <c:v>473</c:v>
                </c:pt>
                <c:pt idx="183">
                  <c:v>673</c:v>
                </c:pt>
                <c:pt idx="184">
                  <c:v>470</c:v>
                </c:pt>
                <c:pt idx="185">
                  <c:v>611</c:v>
                </c:pt>
                <c:pt idx="186">
                  <c:v>687</c:v>
                </c:pt>
                <c:pt idx="187">
                  <c:v>513</c:v>
                </c:pt>
                <c:pt idx="188">
                  <c:v>446</c:v>
                </c:pt>
                <c:pt idx="189">
                  <c:v>476</c:v>
                </c:pt>
                <c:pt idx="190">
                  <c:v>559</c:v>
                </c:pt>
                <c:pt idx="191">
                  <c:v>598</c:v>
                </c:pt>
                <c:pt idx="192">
                  <c:v>621</c:v>
                </c:pt>
                <c:pt idx="193">
                  <c:v>731</c:v>
                </c:pt>
                <c:pt idx="194">
                  <c:v>829</c:v>
                </c:pt>
                <c:pt idx="195">
                  <c:v>720</c:v>
                </c:pt>
                <c:pt idx="196">
                  <c:v>715</c:v>
                </c:pt>
                <c:pt idx="197">
                  <c:v>746</c:v>
                </c:pt>
                <c:pt idx="198">
                  <c:v>1156</c:v>
                </c:pt>
                <c:pt idx="199">
                  <c:v>1129</c:v>
                </c:pt>
                <c:pt idx="200">
                  <c:v>1716</c:v>
                </c:pt>
                <c:pt idx="201">
                  <c:v>1613</c:v>
                </c:pt>
                <c:pt idx="202">
                  <c:v>1314</c:v>
                </c:pt>
                <c:pt idx="203">
                  <c:v>1281</c:v>
                </c:pt>
                <c:pt idx="204">
                  <c:v>1514</c:v>
                </c:pt>
                <c:pt idx="205">
                  <c:v>1117</c:v>
                </c:pt>
                <c:pt idx="206">
                  <c:v>1119</c:v>
                </c:pt>
                <c:pt idx="207">
                  <c:v>1316</c:v>
                </c:pt>
                <c:pt idx="208">
                  <c:v>3889</c:v>
                </c:pt>
                <c:pt idx="209">
                  <c:v>4156</c:v>
                </c:pt>
                <c:pt idx="210">
                  <c:v>3872</c:v>
                </c:pt>
                <c:pt idx="211">
                  <c:v>5437</c:v>
                </c:pt>
                <c:pt idx="212">
                  <c:v>4478</c:v>
                </c:pt>
                <c:pt idx="213">
                  <c:v>4656</c:v>
                </c:pt>
                <c:pt idx="214">
                  <c:v>2525</c:v>
                </c:pt>
                <c:pt idx="215">
                  <c:v>3018</c:v>
                </c:pt>
                <c:pt idx="216">
                  <c:v>3931</c:v>
                </c:pt>
                <c:pt idx="217">
                  <c:v>3542</c:v>
                </c:pt>
                <c:pt idx="218">
                  <c:v>2499</c:v>
                </c:pt>
                <c:pt idx="219">
                  <c:v>3644</c:v>
                </c:pt>
                <c:pt idx="220">
                  <c:v>3813</c:v>
                </c:pt>
                <c:pt idx="221">
                  <c:v>4164</c:v>
                </c:pt>
                <c:pt idx="222">
                  <c:v>4074</c:v>
                </c:pt>
                <c:pt idx="223">
                  <c:v>3066</c:v>
                </c:pt>
                <c:pt idx="224">
                  <c:v>3256</c:v>
                </c:pt>
                <c:pt idx="225">
                  <c:v>2496</c:v>
                </c:pt>
                <c:pt idx="226">
                  <c:v>4307</c:v>
                </c:pt>
                <c:pt idx="227">
                  <c:v>4189</c:v>
                </c:pt>
                <c:pt idx="228">
                  <c:v>4707</c:v>
                </c:pt>
                <c:pt idx="229">
                  <c:v>3375</c:v>
                </c:pt>
                <c:pt idx="230">
                  <c:v>5011</c:v>
                </c:pt>
                <c:pt idx="231">
                  <c:v>4341</c:v>
                </c:pt>
                <c:pt idx="232">
                  <c:v>357</c:v>
                </c:pt>
                <c:pt idx="233">
                  <c:v>555</c:v>
                </c:pt>
                <c:pt idx="234">
                  <c:v>839</c:v>
                </c:pt>
                <c:pt idx="235">
                  <c:v>882</c:v>
                </c:pt>
                <c:pt idx="236">
                  <c:v>612</c:v>
                </c:pt>
                <c:pt idx="237">
                  <c:v>463</c:v>
                </c:pt>
                <c:pt idx="238">
                  <c:v>439</c:v>
                </c:pt>
                <c:pt idx="239">
                  <c:v>2153</c:v>
                </c:pt>
                <c:pt idx="240">
                  <c:v>2812</c:v>
                </c:pt>
                <c:pt idx="241">
                  <c:v>2886</c:v>
                </c:pt>
                <c:pt idx="242">
                  <c:v>385</c:v>
                </c:pt>
                <c:pt idx="243">
                  <c:v>460</c:v>
                </c:pt>
                <c:pt idx="244">
                  <c:v>325</c:v>
                </c:pt>
                <c:pt idx="245">
                  <c:v>3303</c:v>
                </c:pt>
                <c:pt idx="246">
                  <c:v>4702</c:v>
                </c:pt>
                <c:pt idx="247">
                  <c:v>5826</c:v>
                </c:pt>
                <c:pt idx="248">
                  <c:v>435</c:v>
                </c:pt>
                <c:pt idx="249">
                  <c:v>673</c:v>
                </c:pt>
                <c:pt idx="250">
                  <c:v>181</c:v>
                </c:pt>
                <c:pt idx="251">
                  <c:v>33</c:v>
                </c:pt>
                <c:pt idx="252">
                  <c:v>511</c:v>
                </c:pt>
                <c:pt idx="253">
                  <c:v>570</c:v>
                </c:pt>
                <c:pt idx="254">
                  <c:v>508</c:v>
                </c:pt>
                <c:pt idx="255">
                  <c:v>509</c:v>
                </c:pt>
                <c:pt idx="256">
                  <c:v>437</c:v>
                </c:pt>
                <c:pt idx="257">
                  <c:v>408</c:v>
                </c:pt>
                <c:pt idx="258">
                  <c:v>1332</c:v>
                </c:pt>
                <c:pt idx="259">
                  <c:v>3590</c:v>
                </c:pt>
                <c:pt idx="260">
                  <c:v>3089</c:v>
                </c:pt>
                <c:pt idx="261">
                  <c:v>451</c:v>
                </c:pt>
                <c:pt idx="262">
                  <c:v>50</c:v>
                </c:pt>
                <c:pt idx="263">
                  <c:v>316</c:v>
                </c:pt>
                <c:pt idx="264">
                  <c:v>420</c:v>
                </c:pt>
                <c:pt idx="265">
                  <c:v>680</c:v>
                </c:pt>
                <c:pt idx="266">
                  <c:v>705</c:v>
                </c:pt>
                <c:pt idx="267">
                  <c:v>628</c:v>
                </c:pt>
                <c:pt idx="268">
                  <c:v>715</c:v>
                </c:pt>
                <c:pt idx="269">
                  <c:v>816</c:v>
                </c:pt>
                <c:pt idx="270">
                  <c:v>860</c:v>
                </c:pt>
                <c:pt idx="271">
                  <c:v>4565</c:v>
                </c:pt>
                <c:pt idx="272">
                  <c:v>4357</c:v>
                </c:pt>
                <c:pt idx="273">
                  <c:v>5341</c:v>
                </c:pt>
                <c:pt idx="274">
                  <c:v>5288</c:v>
                </c:pt>
                <c:pt idx="275">
                  <c:v>2526</c:v>
                </c:pt>
                <c:pt idx="276">
                  <c:v>3430</c:v>
                </c:pt>
                <c:pt idx="277">
                  <c:v>2636</c:v>
                </c:pt>
                <c:pt idx="278">
                  <c:v>3051</c:v>
                </c:pt>
                <c:pt idx="279">
                  <c:v>2870</c:v>
                </c:pt>
                <c:pt idx="280">
                  <c:v>2313</c:v>
                </c:pt>
                <c:pt idx="281">
                  <c:v>4042</c:v>
                </c:pt>
                <c:pt idx="282">
                  <c:v>3033</c:v>
                </c:pt>
                <c:pt idx="283">
                  <c:v>3116</c:v>
                </c:pt>
                <c:pt idx="284">
                  <c:v>3954</c:v>
                </c:pt>
                <c:pt idx="285">
                  <c:v>3125</c:v>
                </c:pt>
                <c:pt idx="286">
                  <c:v>1828</c:v>
                </c:pt>
                <c:pt idx="287">
                  <c:v>2570</c:v>
                </c:pt>
                <c:pt idx="288">
                  <c:v>4052</c:v>
                </c:pt>
                <c:pt idx="289">
                  <c:v>2530</c:v>
                </c:pt>
                <c:pt idx="290">
                  <c:v>1010</c:v>
                </c:pt>
                <c:pt idx="291">
                  <c:v>648</c:v>
                </c:pt>
                <c:pt idx="292">
                  <c:v>3255</c:v>
                </c:pt>
                <c:pt idx="293">
                  <c:v>1528</c:v>
                </c:pt>
                <c:pt idx="294">
                  <c:v>523</c:v>
                </c:pt>
                <c:pt idx="295">
                  <c:v>572</c:v>
                </c:pt>
                <c:pt idx="296">
                  <c:v>575</c:v>
                </c:pt>
                <c:pt idx="297">
                  <c:v>351</c:v>
                </c:pt>
                <c:pt idx="298">
                  <c:v>1145</c:v>
                </c:pt>
                <c:pt idx="299">
                  <c:v>482</c:v>
                </c:pt>
                <c:pt idx="300">
                  <c:v>396</c:v>
                </c:pt>
                <c:pt idx="301">
                  <c:v>771</c:v>
                </c:pt>
                <c:pt idx="302">
                  <c:v>3051</c:v>
                </c:pt>
                <c:pt idx="303">
                  <c:v>996</c:v>
                </c:pt>
                <c:pt idx="304">
                  <c:v>343</c:v>
                </c:pt>
                <c:pt idx="305">
                  <c:v>312</c:v>
                </c:pt>
                <c:pt idx="306">
                  <c:v>291</c:v>
                </c:pt>
                <c:pt idx="307">
                  <c:v>404</c:v>
                </c:pt>
                <c:pt idx="308">
                  <c:v>310</c:v>
                </c:pt>
                <c:pt idx="309">
                  <c:v>363</c:v>
                </c:pt>
                <c:pt idx="310">
                  <c:v>313</c:v>
                </c:pt>
                <c:pt idx="311">
                  <c:v>478</c:v>
                </c:pt>
                <c:pt idx="312">
                  <c:v>5326</c:v>
                </c:pt>
                <c:pt idx="313">
                  <c:v>5003</c:v>
                </c:pt>
                <c:pt idx="314">
                  <c:v>2538</c:v>
                </c:pt>
                <c:pt idx="315">
                  <c:v>1437</c:v>
                </c:pt>
                <c:pt idx="316">
                  <c:v>319</c:v>
                </c:pt>
                <c:pt idx="317">
                  <c:v>2139</c:v>
                </c:pt>
                <c:pt idx="318">
                  <c:v>2938</c:v>
                </c:pt>
                <c:pt idx="319">
                  <c:v>2326</c:v>
                </c:pt>
                <c:pt idx="320">
                  <c:v>2524</c:v>
                </c:pt>
                <c:pt idx="321">
                  <c:v>2877</c:v>
                </c:pt>
                <c:pt idx="322">
                  <c:v>4837</c:v>
                </c:pt>
                <c:pt idx="323">
                  <c:v>3575</c:v>
                </c:pt>
                <c:pt idx="324">
                  <c:v>5393</c:v>
                </c:pt>
                <c:pt idx="325">
                  <c:v>5184</c:v>
                </c:pt>
                <c:pt idx="326">
                  <c:v>2339</c:v>
                </c:pt>
                <c:pt idx="327">
                  <c:v>2732</c:v>
                </c:pt>
                <c:pt idx="328">
                  <c:v>2746</c:v>
                </c:pt>
                <c:pt idx="329">
                  <c:v>3035</c:v>
                </c:pt>
                <c:pt idx="330">
                  <c:v>2279</c:v>
                </c:pt>
                <c:pt idx="331">
                  <c:v>2902</c:v>
                </c:pt>
                <c:pt idx="332">
                  <c:v>1887</c:v>
                </c:pt>
                <c:pt idx="333">
                  <c:v>2854</c:v>
                </c:pt>
                <c:pt idx="334">
                  <c:v>1895</c:v>
                </c:pt>
                <c:pt idx="335">
                  <c:v>2143</c:v>
                </c:pt>
                <c:pt idx="336">
                  <c:v>2355</c:v>
                </c:pt>
                <c:pt idx="337">
                  <c:v>2881</c:v>
                </c:pt>
                <c:pt idx="338">
                  <c:v>3171</c:v>
                </c:pt>
                <c:pt idx="339">
                  <c:v>1723</c:v>
                </c:pt>
                <c:pt idx="340">
                  <c:v>2279</c:v>
                </c:pt>
                <c:pt idx="341">
                  <c:v>2052</c:v>
                </c:pt>
                <c:pt idx="342">
                  <c:v>1041</c:v>
                </c:pt>
                <c:pt idx="343">
                  <c:v>944</c:v>
                </c:pt>
                <c:pt idx="344">
                  <c:v>1280</c:v>
                </c:pt>
                <c:pt idx="345">
                  <c:v>1058</c:v>
                </c:pt>
                <c:pt idx="346">
                  <c:v>1097</c:v>
                </c:pt>
                <c:pt idx="347">
                  <c:v>957</c:v>
                </c:pt>
                <c:pt idx="348">
                  <c:v>549</c:v>
                </c:pt>
                <c:pt idx="349">
                  <c:v>883</c:v>
                </c:pt>
                <c:pt idx="350">
                  <c:v>1289</c:v>
                </c:pt>
                <c:pt idx="351">
                  <c:v>731</c:v>
                </c:pt>
                <c:pt idx="352">
                  <c:v>1038</c:v>
                </c:pt>
                <c:pt idx="353">
                  <c:v>644</c:v>
                </c:pt>
                <c:pt idx="354">
                  <c:v>1170</c:v>
                </c:pt>
                <c:pt idx="355">
                  <c:v>1132</c:v>
                </c:pt>
                <c:pt idx="356">
                  <c:v>1219</c:v>
                </c:pt>
                <c:pt idx="357">
                  <c:v>1054</c:v>
                </c:pt>
                <c:pt idx="358">
                  <c:v>1083</c:v>
                </c:pt>
                <c:pt idx="359">
                  <c:v>1534</c:v>
                </c:pt>
                <c:pt idx="360">
                  <c:v>2061</c:v>
                </c:pt>
                <c:pt idx="361">
                  <c:v>1299</c:v>
                </c:pt>
                <c:pt idx="362">
                  <c:v>777</c:v>
                </c:pt>
                <c:pt idx="363">
                  <c:v>2282</c:v>
                </c:pt>
                <c:pt idx="364">
                  <c:v>18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B4-4ECD-8A43-BFFD4F1E8E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07512160"/>
        <c:axId val="1607511328"/>
      </c:barChart>
      <c:dateAx>
        <c:axId val="160751216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7511328"/>
        <c:crosses val="autoZero"/>
        <c:auto val="1"/>
        <c:lblOffset val="100"/>
        <c:baseTimeUnit val="days"/>
      </c:dateAx>
      <c:valAx>
        <c:axId val="16075113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07512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C3507F8-8ADA-4E43-A384-50F19D761CE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E1147D-D51C-4FE5-95B4-5A15E2E0E9E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0C1287-3CA1-4A2C-B625-E3B3257FAABD}" type="datetimeFigureOut">
              <a:rPr lang="en-IN" smtClean="0"/>
              <a:t>04-05-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D2D4A4-DF1A-4AD3-934D-B270E46D72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674F7E-ACCA-4957-BD6B-8C45405ED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79C2EB-587D-4015-81BA-5FD26E3C778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886311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0B1DD2-0DE1-48F8-9FBF-2774A195291D}" type="datetimeFigureOut">
              <a:rPr lang="en-US" smtClean="0"/>
              <a:t>5/4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2750" y="685800"/>
            <a:ext cx="60325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DF143B-7D66-4A66-84BD-D97BF5DF26F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990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H" dirty="0"/>
              <a:t>&lt;Introductions&gt;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F143B-7D66-4A66-84BD-D97BF5DF26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7939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DF143B-7D66-4A66-84BD-D97BF5DF26FC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4709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DF143B-7D66-4A66-84BD-D97BF5DF26FC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3539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DF143B-7D66-4A66-84BD-D97BF5DF26FC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5876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C:\Users\Kalpana\Desktop\Sharmila_1\business-blue-wave-powerpoint-background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9" y="-36286"/>
            <a:ext cx="12069763" cy="5364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:\Users\Kalpana\Desktop\Sharmila_1\business-blue-wave-powerpoint-backgrounds.jpg">
            <a:extLst>
              <a:ext uri="{FF2B5EF4-FFF2-40B4-BE49-F238E27FC236}">
                <a16:creationId xmlns:a16="http://schemas.microsoft.com/office/drawing/2014/main" id="{0636BE16-A213-404E-B705-D1D8AD3249A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987" b="19490"/>
          <a:stretch/>
        </p:blipFill>
        <p:spPr bwMode="auto">
          <a:xfrm>
            <a:off x="1829" y="3810000"/>
            <a:ext cx="12069763" cy="30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\\SONY\Users\Nivas\Desktop\analytic-edge\logo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1081" y="5846126"/>
            <a:ext cx="1915174" cy="651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91973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5758" y="4800600"/>
            <a:ext cx="7241858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65758" y="612775"/>
            <a:ext cx="7241858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65758" y="5367338"/>
            <a:ext cx="7241858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384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489" y="274638"/>
            <a:ext cx="10862787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3489" y="1600202"/>
            <a:ext cx="10862787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2861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800397" y="274639"/>
            <a:ext cx="304049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6830" y="274639"/>
            <a:ext cx="892240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6357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783200" y="2024148"/>
            <a:ext cx="10778298" cy="407185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itle 8"/>
          <p:cNvSpPr>
            <a:spLocks noGrp="1"/>
          </p:cNvSpPr>
          <p:nvPr>
            <p:ph type="title" hasCustomPrompt="1"/>
          </p:nvPr>
        </p:nvSpPr>
        <p:spPr>
          <a:xfrm>
            <a:off x="784533" y="676656"/>
            <a:ext cx="10778298" cy="571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>
                <a:solidFill>
                  <a:srgbClr val="009DD9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4535" y="1280160"/>
            <a:ext cx="10778131" cy="315118"/>
          </a:xfrm>
          <a:prstGeom prst="rect">
            <a:avLst/>
          </a:prstGeo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21627780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PPT-Chart-Template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06976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/>
        </p:nvSpPr>
        <p:spPr bwMode="gray">
          <a:xfrm rot="16200000">
            <a:off x="-1044076" y="5582980"/>
            <a:ext cx="2364750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5F5F5F"/>
                </a:solidFill>
                <a:latin typeface="Calibri"/>
                <a:cs typeface="Calibri"/>
              </a:rPr>
              <a:t>Copyright ©2014 The Nielsen Company. Confidential and proprietary.</a:t>
            </a:r>
          </a:p>
        </p:txBody>
      </p:sp>
      <p:sp>
        <p:nvSpPr>
          <p:cNvPr id="10" name="Text Box 17"/>
          <p:cNvSpPr txBox="1">
            <a:spLocks noChangeArrowheads="1"/>
          </p:cNvSpPr>
          <p:nvPr/>
        </p:nvSpPr>
        <p:spPr bwMode="auto">
          <a:xfrm>
            <a:off x="11743649" y="6600633"/>
            <a:ext cx="13465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5C6C71C6-CA0A-4484-B53C-095B8346E4FB}" type="slidenum">
              <a:rPr lang="en-US" sz="900">
                <a:solidFill>
                  <a:srgbClr val="009DD9"/>
                </a:solidFill>
                <a:latin typeface="+mn-lt"/>
                <a:cs typeface="+mn-cs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9DD9"/>
              </a:solidFill>
              <a:latin typeface="+mn-lt"/>
              <a:cs typeface="+mn-cs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784535" y="676656"/>
            <a:ext cx="10779724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9DD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784535" y="1280160"/>
            <a:ext cx="10771342" cy="315118"/>
          </a:xfrm>
          <a:prstGeom prst="rect">
            <a:avLst/>
          </a:prstGeom>
        </p:spPr>
        <p:txBody>
          <a:bodyPr tIns="0" bIns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>
          <a:xfrm>
            <a:off x="784535" y="6373368"/>
            <a:ext cx="10778131" cy="365760"/>
          </a:xfrm>
          <a:prstGeom prst="rect">
            <a:avLst/>
          </a:prstGeom>
        </p:spPr>
        <p:txBody>
          <a:bodyPr tIns="0" bIns="0" anchor="b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33970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6724" y="457200"/>
            <a:ext cx="11097477" cy="5905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343" y="1295400"/>
            <a:ext cx="11131004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8469DFA-4677-419C-96F9-D6F5DF3D3A23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© Analytic Edge Proprietary and Confidential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78628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4816" y="342900"/>
            <a:ext cx="10778969" cy="571500"/>
          </a:xfrm>
          <a:prstGeom prst="rect">
            <a:avLst/>
          </a:prstGeom>
        </p:spPr>
        <p:txBody>
          <a:bodyPr/>
          <a:lstStyle>
            <a:lvl1pPr>
              <a:lnSpc>
                <a:spcPts val="2500"/>
              </a:lnSpc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Analytic Edge Proprietary and Confidenti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95962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914" y="234098"/>
            <a:ext cx="10857857" cy="365442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rgbClr val="00B0F0"/>
                </a:solidFill>
                <a:latin typeface="Calibri" panose="020F0502020204030204" pitchFamily="34" charset="0"/>
                <a:ea typeface="맑은 고딕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8914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6A8A4E7-4433-440B-85E7-CA7B3BA3471A}"/>
              </a:ext>
            </a:extLst>
          </p:cNvPr>
          <p:cNvSpPr/>
          <p:nvPr userDrawn="1"/>
        </p:nvSpPr>
        <p:spPr>
          <a:xfrm>
            <a:off x="0" y="5478674"/>
            <a:ext cx="12069763" cy="140109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82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B83A9049-CC78-42CC-993E-09BAB8E162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42" y="2456892"/>
            <a:ext cx="10549172" cy="7921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376" b="1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D766D85D-A88C-4AFF-962F-BC7ED572DA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378" y="3933056"/>
            <a:ext cx="10549172" cy="46805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980" b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61D341F-1319-4F81-A66D-D86D109247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42" y="4581128"/>
            <a:ext cx="10549172" cy="46805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980" b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Location</a:t>
            </a:r>
            <a:endParaRPr lang="en-GB" dirty="0"/>
          </a:p>
        </p:txBody>
      </p:sp>
      <p:pic>
        <p:nvPicPr>
          <p:cNvPr id="11" name="Picture 2" descr="\\SONY\Users\Nivas\Desktop\analytic-edge\logo.png">
            <a:extLst>
              <a:ext uri="{FF2B5EF4-FFF2-40B4-BE49-F238E27FC236}">
                <a16:creationId xmlns:a16="http://schemas.microsoft.com/office/drawing/2014/main" id="{E419F03C-DADD-414F-AEAF-1D6DD918BE6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0675" y="6043998"/>
            <a:ext cx="2080502" cy="70758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7745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 descr="C:\Users\Kalpana\Desktop\Sharmila_1\health-systems-mgt-h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04"/>
          <a:stretch/>
        </p:blipFill>
        <p:spPr bwMode="auto">
          <a:xfrm>
            <a:off x="-2" y="-1"/>
            <a:ext cx="12130883" cy="6858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 userDrawn="1"/>
        </p:nvGrpSpPr>
        <p:grpSpPr>
          <a:xfrm>
            <a:off x="-2" y="2895600"/>
            <a:ext cx="8869224" cy="1540042"/>
            <a:chOff x="-2" y="4139616"/>
            <a:chExt cx="8869224" cy="1540042"/>
          </a:xfrm>
        </p:grpSpPr>
        <p:sp>
          <p:nvSpPr>
            <p:cNvPr id="8" name="Freeform 6"/>
            <p:cNvSpPr>
              <a:spLocks/>
            </p:cNvSpPr>
            <p:nvPr userDrawn="1"/>
          </p:nvSpPr>
          <p:spPr bwMode="auto">
            <a:xfrm flipH="1">
              <a:off x="-2" y="4139616"/>
              <a:ext cx="7017405" cy="1037827"/>
            </a:xfrm>
            <a:custGeom>
              <a:avLst/>
              <a:gdLst>
                <a:gd name="T0" fmla="*/ 4660 w 4660"/>
                <a:gd name="T1" fmla="*/ 775 h 775"/>
                <a:gd name="T2" fmla="*/ 0 w 4660"/>
                <a:gd name="T3" fmla="*/ 775 h 775"/>
                <a:gd name="T4" fmla="*/ 314 w 4660"/>
                <a:gd name="T5" fmla="*/ 0 h 775"/>
                <a:gd name="T6" fmla="*/ 4660 w 4660"/>
                <a:gd name="T7" fmla="*/ 0 h 775"/>
                <a:gd name="T8" fmla="*/ 4660 w 4660"/>
                <a:gd name="T9" fmla="*/ 775 h 775"/>
                <a:gd name="connsiteX0" fmla="*/ 10000 w 10000"/>
                <a:gd name="connsiteY0" fmla="*/ 10000 h 10000"/>
                <a:gd name="connsiteX1" fmla="*/ 0 w 10000"/>
                <a:gd name="connsiteY1" fmla="*/ 10000 h 10000"/>
                <a:gd name="connsiteX2" fmla="*/ 499 w 10000"/>
                <a:gd name="connsiteY2" fmla="*/ 191 h 10000"/>
                <a:gd name="connsiteX3" fmla="*/ 10000 w 10000"/>
                <a:gd name="connsiteY3" fmla="*/ 0 h 10000"/>
                <a:gd name="connsiteX4" fmla="*/ 10000 w 10000"/>
                <a:gd name="connsiteY4" fmla="*/ 10000 h 10000"/>
                <a:gd name="connsiteX0" fmla="*/ 9901 w 9901"/>
                <a:gd name="connsiteY0" fmla="*/ 10000 h 10000"/>
                <a:gd name="connsiteX1" fmla="*/ 0 w 9901"/>
                <a:gd name="connsiteY1" fmla="*/ 9713 h 10000"/>
                <a:gd name="connsiteX2" fmla="*/ 400 w 9901"/>
                <a:gd name="connsiteY2" fmla="*/ 191 h 10000"/>
                <a:gd name="connsiteX3" fmla="*/ 9901 w 9901"/>
                <a:gd name="connsiteY3" fmla="*/ 0 h 10000"/>
                <a:gd name="connsiteX4" fmla="*/ 9901 w 9901"/>
                <a:gd name="connsiteY4" fmla="*/ 10000 h 10000"/>
                <a:gd name="connsiteX0" fmla="*/ 10033 w 10033"/>
                <a:gd name="connsiteY0" fmla="*/ 10000 h 10000"/>
                <a:gd name="connsiteX1" fmla="*/ 0 w 10033"/>
                <a:gd name="connsiteY1" fmla="*/ 9713 h 10000"/>
                <a:gd name="connsiteX2" fmla="*/ 437 w 10033"/>
                <a:gd name="connsiteY2" fmla="*/ 191 h 10000"/>
                <a:gd name="connsiteX3" fmla="*/ 10033 w 10033"/>
                <a:gd name="connsiteY3" fmla="*/ 0 h 10000"/>
                <a:gd name="connsiteX4" fmla="*/ 10033 w 10033"/>
                <a:gd name="connsiteY4" fmla="*/ 10000 h 10000"/>
                <a:gd name="connsiteX0" fmla="*/ 10107 w 10107"/>
                <a:gd name="connsiteY0" fmla="*/ 10000 h 10000"/>
                <a:gd name="connsiteX1" fmla="*/ 0 w 10107"/>
                <a:gd name="connsiteY1" fmla="*/ 9590 h 10000"/>
                <a:gd name="connsiteX2" fmla="*/ 511 w 10107"/>
                <a:gd name="connsiteY2" fmla="*/ 191 h 10000"/>
                <a:gd name="connsiteX3" fmla="*/ 10107 w 10107"/>
                <a:gd name="connsiteY3" fmla="*/ 0 h 10000"/>
                <a:gd name="connsiteX4" fmla="*/ 10107 w 10107"/>
                <a:gd name="connsiteY4" fmla="*/ 10000 h 10000"/>
                <a:gd name="connsiteX0" fmla="*/ 10107 w 10107"/>
                <a:gd name="connsiteY0" fmla="*/ 10000 h 10000"/>
                <a:gd name="connsiteX1" fmla="*/ 0 w 10107"/>
                <a:gd name="connsiteY1" fmla="*/ 9960 h 10000"/>
                <a:gd name="connsiteX2" fmla="*/ 511 w 10107"/>
                <a:gd name="connsiteY2" fmla="*/ 191 h 10000"/>
                <a:gd name="connsiteX3" fmla="*/ 10107 w 10107"/>
                <a:gd name="connsiteY3" fmla="*/ 0 h 10000"/>
                <a:gd name="connsiteX4" fmla="*/ 10107 w 10107"/>
                <a:gd name="connsiteY4" fmla="*/ 10000 h 10000"/>
                <a:gd name="connsiteX0" fmla="*/ 10199 w 10199"/>
                <a:gd name="connsiteY0" fmla="*/ 10000 h 10083"/>
                <a:gd name="connsiteX1" fmla="*/ 0 w 10199"/>
                <a:gd name="connsiteY1" fmla="*/ 10083 h 10083"/>
                <a:gd name="connsiteX2" fmla="*/ 603 w 10199"/>
                <a:gd name="connsiteY2" fmla="*/ 191 h 10083"/>
                <a:gd name="connsiteX3" fmla="*/ 10199 w 10199"/>
                <a:gd name="connsiteY3" fmla="*/ 0 h 10083"/>
                <a:gd name="connsiteX4" fmla="*/ 10199 w 10199"/>
                <a:gd name="connsiteY4" fmla="*/ 10000 h 10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99" h="10083">
                  <a:moveTo>
                    <a:pt x="10199" y="10000"/>
                  </a:moveTo>
                  <a:lnTo>
                    <a:pt x="0" y="10083"/>
                  </a:lnTo>
                  <a:cubicBezTo>
                    <a:pt x="168" y="6813"/>
                    <a:pt x="435" y="3461"/>
                    <a:pt x="603" y="191"/>
                  </a:cubicBezTo>
                  <a:lnTo>
                    <a:pt x="10199" y="0"/>
                  </a:lnTo>
                  <a:lnTo>
                    <a:pt x="10199" y="10000"/>
                  </a:lnTo>
                  <a:close/>
                </a:path>
              </a:pathLst>
            </a:custGeom>
            <a:solidFill>
              <a:srgbClr val="007FA8">
                <a:alpha val="74902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400" kern="0" dirty="0">
                <a:solidFill>
                  <a:srgbClr val="000000"/>
                </a:solidFill>
              </a:endParaRPr>
            </a:p>
          </p:txBody>
        </p:sp>
        <p:sp>
          <p:nvSpPr>
            <p:cNvPr id="9" name="Freeform 108"/>
            <p:cNvSpPr>
              <a:spLocks/>
            </p:cNvSpPr>
            <p:nvPr userDrawn="1"/>
          </p:nvSpPr>
          <p:spPr bwMode="auto">
            <a:xfrm flipH="1">
              <a:off x="6705086" y="4139616"/>
              <a:ext cx="2164136" cy="1540042"/>
            </a:xfrm>
            <a:custGeom>
              <a:avLst/>
              <a:gdLst>
                <a:gd name="T0" fmla="*/ 1678 w 2358"/>
                <a:gd name="T1" fmla="*/ 1678 h 1678"/>
                <a:gd name="T2" fmla="*/ 0 w 2358"/>
                <a:gd name="T3" fmla="*/ 1678 h 1678"/>
                <a:gd name="T4" fmla="*/ 681 w 2358"/>
                <a:gd name="T5" fmla="*/ 0 h 1678"/>
                <a:gd name="T6" fmla="*/ 2358 w 2358"/>
                <a:gd name="T7" fmla="*/ 0 h 1678"/>
                <a:gd name="T8" fmla="*/ 1678 w 2358"/>
                <a:gd name="T9" fmla="*/ 1678 h 1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8" h="1678">
                  <a:moveTo>
                    <a:pt x="1678" y="1678"/>
                  </a:moveTo>
                  <a:lnTo>
                    <a:pt x="0" y="1678"/>
                  </a:lnTo>
                  <a:lnTo>
                    <a:pt x="681" y="0"/>
                  </a:lnTo>
                  <a:lnTo>
                    <a:pt x="2358" y="0"/>
                  </a:lnTo>
                  <a:lnTo>
                    <a:pt x="1678" y="167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  <a:alpha val="74902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</a:endParaRPr>
            </a:p>
          </p:txBody>
        </p:sp>
        <p:grpSp>
          <p:nvGrpSpPr>
            <p:cNvPr id="10" name="Group 9"/>
            <p:cNvGrpSpPr/>
            <p:nvPr userDrawn="1"/>
          </p:nvGrpSpPr>
          <p:grpSpPr>
            <a:xfrm>
              <a:off x="7485604" y="4430073"/>
              <a:ext cx="603100" cy="901982"/>
              <a:chOff x="1618910" y="3120572"/>
              <a:chExt cx="1640114" cy="2452914"/>
            </a:xfrm>
          </p:grpSpPr>
          <p:sp>
            <p:nvSpPr>
              <p:cNvPr id="11" name="Freeform 10"/>
              <p:cNvSpPr/>
              <p:nvPr/>
            </p:nvSpPr>
            <p:spPr>
              <a:xfrm>
                <a:off x="1618910" y="3541486"/>
                <a:ext cx="1451429" cy="1915886"/>
              </a:xfrm>
              <a:custGeom>
                <a:avLst/>
                <a:gdLst>
                  <a:gd name="connsiteX0" fmla="*/ 406400 w 1451429"/>
                  <a:gd name="connsiteY0" fmla="*/ 1654629 h 1915886"/>
                  <a:gd name="connsiteX1" fmla="*/ 1364343 w 1451429"/>
                  <a:gd name="connsiteY1" fmla="*/ 1669143 h 1915886"/>
                  <a:gd name="connsiteX2" fmla="*/ 1451429 w 1451429"/>
                  <a:gd name="connsiteY2" fmla="*/ 1915886 h 1915886"/>
                  <a:gd name="connsiteX3" fmla="*/ 0 w 1451429"/>
                  <a:gd name="connsiteY3" fmla="*/ 1901372 h 1915886"/>
                  <a:gd name="connsiteX4" fmla="*/ 812800 w 1451429"/>
                  <a:gd name="connsiteY4" fmla="*/ 0 h 1915886"/>
                  <a:gd name="connsiteX5" fmla="*/ 914400 w 1451429"/>
                  <a:gd name="connsiteY5" fmla="*/ 348343 h 1915886"/>
                  <a:gd name="connsiteX6" fmla="*/ 406400 w 1451429"/>
                  <a:gd name="connsiteY6" fmla="*/ 1654629 h 1915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1429" h="1915886">
                    <a:moveTo>
                      <a:pt x="406400" y="1654629"/>
                    </a:moveTo>
                    <a:lnTo>
                      <a:pt x="1364343" y="1669143"/>
                    </a:lnTo>
                    <a:lnTo>
                      <a:pt x="1451429" y="1915886"/>
                    </a:lnTo>
                    <a:lnTo>
                      <a:pt x="0" y="1901372"/>
                    </a:lnTo>
                    <a:lnTo>
                      <a:pt x="812800" y="0"/>
                    </a:lnTo>
                    <a:lnTo>
                      <a:pt x="914400" y="348343"/>
                    </a:lnTo>
                    <a:lnTo>
                      <a:pt x="406400" y="1654629"/>
                    </a:lnTo>
                    <a:close/>
                  </a:path>
                </a:pathLst>
              </a:custGeom>
              <a:solidFill>
                <a:srgbClr val="216C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Freeform 11"/>
              <p:cNvSpPr/>
              <p:nvPr/>
            </p:nvSpPr>
            <p:spPr>
              <a:xfrm>
                <a:off x="2330110" y="3120572"/>
                <a:ext cx="928914" cy="2452914"/>
              </a:xfrm>
              <a:custGeom>
                <a:avLst/>
                <a:gdLst>
                  <a:gd name="connsiteX0" fmla="*/ 0 w 928914"/>
                  <a:gd name="connsiteY0" fmla="*/ 29029 h 2452914"/>
                  <a:gd name="connsiteX1" fmla="*/ 928914 w 928914"/>
                  <a:gd name="connsiteY1" fmla="*/ 2452914 h 2452914"/>
                  <a:gd name="connsiteX2" fmla="*/ 522514 w 928914"/>
                  <a:gd name="connsiteY2" fmla="*/ 0 h 2452914"/>
                  <a:gd name="connsiteX3" fmla="*/ 0 w 928914"/>
                  <a:gd name="connsiteY3" fmla="*/ 29029 h 2452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8914" h="2452914">
                    <a:moveTo>
                      <a:pt x="0" y="29029"/>
                    </a:moveTo>
                    <a:lnTo>
                      <a:pt x="928914" y="2452914"/>
                    </a:lnTo>
                    <a:lnTo>
                      <a:pt x="522514" y="0"/>
                    </a:lnTo>
                    <a:lnTo>
                      <a:pt x="0" y="29029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</p:grpSp>
      <p:pic>
        <p:nvPicPr>
          <p:cNvPr id="13" name="Picture 2" descr="\\SONY\Users\Nivas\Desktop\analytic-edge\logo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07" y="5694518"/>
            <a:ext cx="2524774" cy="858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Date Placeholder 3"/>
          <p:cNvSpPr>
            <a:spLocks noGrp="1"/>
          </p:cNvSpPr>
          <p:nvPr>
            <p:ph type="dt" sz="half" idx="10"/>
          </p:nvPr>
        </p:nvSpPr>
        <p:spPr>
          <a:xfrm>
            <a:off x="603488" y="6602666"/>
            <a:ext cx="2816278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23836" y="6602666"/>
            <a:ext cx="3822092" cy="365125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49997" y="6602666"/>
            <a:ext cx="2816278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7893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5655" y="6602666"/>
            <a:ext cx="576072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45069" y="164815"/>
            <a:ext cx="10862787" cy="781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7F1F234-817C-481C-831B-656333987140}"/>
              </a:ext>
            </a:extLst>
          </p:cNvPr>
          <p:cNvCxnSpPr>
            <a:cxnSpLocks/>
          </p:cNvCxnSpPr>
          <p:nvPr userDrawn="1"/>
        </p:nvCxnSpPr>
        <p:spPr>
          <a:xfrm>
            <a:off x="0" y="6597135"/>
            <a:ext cx="12069763" cy="0"/>
          </a:xfrm>
          <a:prstGeom prst="line">
            <a:avLst/>
          </a:prstGeom>
          <a:ln w="6350" cap="sq">
            <a:solidFill>
              <a:schemeClr val="accent1">
                <a:lumMod val="60000"/>
                <a:lumOff val="40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6F83D20-4F50-4713-9AD7-08B4A11C9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5069" y="6602666"/>
            <a:ext cx="2532888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A7631B4-031E-4E9C-904A-FDAA77D8772D}"/>
              </a:ext>
            </a:extLst>
          </p:cNvPr>
          <p:cNvGrpSpPr/>
          <p:nvPr userDrawn="1"/>
        </p:nvGrpSpPr>
        <p:grpSpPr>
          <a:xfrm>
            <a:off x="10974184" y="137745"/>
            <a:ext cx="1076287" cy="883335"/>
            <a:chOff x="10977375" y="137745"/>
            <a:chExt cx="1166440" cy="957326"/>
          </a:xfrm>
        </p:grpSpPr>
        <p:pic>
          <p:nvPicPr>
            <p:cNvPr id="18" name="Picture 2" descr="\\SONY\Users\Nivas\Desktop\analytic-edge\logo.png">
              <a:extLst>
                <a:ext uri="{FF2B5EF4-FFF2-40B4-BE49-F238E27FC236}">
                  <a16:creationId xmlns:a16="http://schemas.microsoft.com/office/drawing/2014/main" id="{BCF27C50-DEA2-424A-9413-590FF176E7E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EA520A3F-0138-4D2A-A1D1-EB55C3757CD1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31" name="Rectangle 1">
                <a:extLst>
                  <a:ext uri="{FF2B5EF4-FFF2-40B4-BE49-F238E27FC236}">
                    <a16:creationId xmlns:a16="http://schemas.microsoft.com/office/drawing/2014/main" id="{A93A369D-10FE-4FAB-94CC-569AF6E4219F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AEBF839C-7FE3-46CA-9753-1B1FCC7AB3AA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33" name="Freeform 10">
                  <a:extLst>
                    <a:ext uri="{FF2B5EF4-FFF2-40B4-BE49-F238E27FC236}">
                      <a16:creationId xmlns:a16="http://schemas.microsoft.com/office/drawing/2014/main" id="{68752C36-A713-47D5-925E-B6CB77B4D208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4" name="Freeform 11">
                  <a:extLst>
                    <a:ext uri="{FF2B5EF4-FFF2-40B4-BE49-F238E27FC236}">
                      <a16:creationId xmlns:a16="http://schemas.microsoft.com/office/drawing/2014/main" id="{E2B0347B-1377-48B4-9FE0-6657C5DAB7E1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1041528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616700"/>
            <a:ext cx="12069763" cy="248556"/>
          </a:xfrm>
          <a:prstGeom prst="rect">
            <a:avLst/>
          </a:prstGeom>
          <a:solidFill>
            <a:srgbClr val="39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3488" y="6602666"/>
            <a:ext cx="2816278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23836" y="6602666"/>
            <a:ext cx="3822092" cy="365125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49997" y="6602666"/>
            <a:ext cx="2816278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45069" y="44823"/>
            <a:ext cx="10862787" cy="10219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2" descr="\\SONY\Users\Nivas\Desktop\analytic-edge\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6167" y="254000"/>
            <a:ext cx="2524774" cy="858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59361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3428" y="4406902"/>
            <a:ext cx="10259299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53428" y="2906713"/>
            <a:ext cx="10259299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6053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489" y="274638"/>
            <a:ext cx="10862787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830" y="1600202"/>
            <a:ext cx="59804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393" y="1600202"/>
            <a:ext cx="5982494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3644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489" y="274638"/>
            <a:ext cx="10862787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3488" y="1535113"/>
            <a:ext cx="533290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3488" y="2174875"/>
            <a:ext cx="533290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31272" y="1535113"/>
            <a:ext cx="533500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31272" y="2174875"/>
            <a:ext cx="533500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1075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C:\Users\Kalpana\Desktop\Sharmila_1\105960555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61119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1" name="Picture 2" descr="\\SONY\Users\Nivas\Desktop\analytic-edge\logo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4314" y="152400"/>
            <a:ext cx="2524774" cy="858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07015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0403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489" y="273050"/>
            <a:ext cx="3970869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18943" y="273052"/>
            <a:ext cx="6747333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3489" y="1435102"/>
            <a:ext cx="3970869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8561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5758" y="4800600"/>
            <a:ext cx="7241858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65758" y="612775"/>
            <a:ext cx="7241858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65758" y="5367338"/>
            <a:ext cx="7241858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55799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489" y="274638"/>
            <a:ext cx="10862787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3489" y="1600202"/>
            <a:ext cx="10862787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1099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800397" y="274639"/>
            <a:ext cx="304049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6830" y="274639"/>
            <a:ext cx="892240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3481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45069" y="164816"/>
            <a:ext cx="10862787" cy="7819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46BB854-E3A7-46D7-9DAD-C1C8B6A6E041}"/>
              </a:ext>
            </a:extLst>
          </p:cNvPr>
          <p:cNvSpPr/>
          <p:nvPr userDrawn="1"/>
        </p:nvSpPr>
        <p:spPr>
          <a:xfrm>
            <a:off x="11493691" y="6248400"/>
            <a:ext cx="576072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B043C6-9E4E-4094-AA6A-1DFBB0F7A78F}"/>
              </a:ext>
            </a:extLst>
          </p:cNvPr>
          <p:cNvCxnSpPr>
            <a:cxnSpLocks/>
          </p:cNvCxnSpPr>
          <p:nvPr userDrawn="1"/>
        </p:nvCxnSpPr>
        <p:spPr>
          <a:xfrm>
            <a:off x="0" y="6597135"/>
            <a:ext cx="12069763" cy="0"/>
          </a:xfrm>
          <a:prstGeom prst="line">
            <a:avLst/>
          </a:prstGeom>
          <a:ln w="6350" cap="sq">
            <a:solidFill>
              <a:schemeClr val="accent1">
                <a:lumMod val="60000"/>
                <a:lumOff val="40000"/>
              </a:schemeClr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5655" y="6602666"/>
            <a:ext cx="576072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fld id="{4C2143BD-DDDC-4030-AFD1-D2DD3F00D3BF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2E41023E-13D4-42B3-8035-6395944491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5069" y="6602666"/>
            <a:ext cx="2532888" cy="365125"/>
          </a:xfrm>
          <a:prstGeom prst="rect">
            <a:avLst/>
          </a:prstGeom>
        </p:spPr>
        <p:txBody>
          <a:bodyPr/>
          <a:lstStyle>
            <a:lvl1pPr>
              <a:defRPr lang="en-US" smtClean="0"/>
            </a:lvl1pPr>
          </a:lstStyle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F2F8354-9E89-4FB0-9D5A-7A0C3F378A47}"/>
              </a:ext>
            </a:extLst>
          </p:cNvPr>
          <p:cNvGrpSpPr/>
          <p:nvPr userDrawn="1"/>
        </p:nvGrpSpPr>
        <p:grpSpPr>
          <a:xfrm>
            <a:off x="10974184" y="137745"/>
            <a:ext cx="1076287" cy="883335"/>
            <a:chOff x="10977375" y="137745"/>
            <a:chExt cx="1166440" cy="957326"/>
          </a:xfrm>
        </p:grpSpPr>
        <p:pic>
          <p:nvPicPr>
            <p:cNvPr id="24" name="Picture 2" descr="\\SONY\Users\Nivas\Desktop\analytic-edge\logo.png">
              <a:extLst>
                <a:ext uri="{FF2B5EF4-FFF2-40B4-BE49-F238E27FC236}">
                  <a16:creationId xmlns:a16="http://schemas.microsoft.com/office/drawing/2014/main" id="{6F30A324-6E72-4A68-8728-D46630EA17E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447"/>
            <a:stretch/>
          </p:blipFill>
          <p:spPr bwMode="auto">
            <a:xfrm>
              <a:off x="10977375" y="1017501"/>
              <a:ext cx="1166440" cy="77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3DBE02F-00AD-4BCD-9662-74C209A98986}"/>
                </a:ext>
              </a:extLst>
            </p:cNvPr>
            <p:cNvGrpSpPr/>
            <p:nvPr userDrawn="1"/>
          </p:nvGrpSpPr>
          <p:grpSpPr>
            <a:xfrm>
              <a:off x="11237063" y="137745"/>
              <a:ext cx="564483" cy="844228"/>
              <a:chOff x="5120481" y="994341"/>
              <a:chExt cx="2861072" cy="4278953"/>
            </a:xfrm>
          </p:grpSpPr>
          <p:sp>
            <p:nvSpPr>
              <p:cNvPr id="26" name="Rectangle 1">
                <a:extLst>
                  <a:ext uri="{FF2B5EF4-FFF2-40B4-BE49-F238E27FC236}">
                    <a16:creationId xmlns:a16="http://schemas.microsoft.com/office/drawing/2014/main" id="{6FB46412-BA9D-4716-8111-F4DBCE02DD8A}"/>
                  </a:ext>
                </a:extLst>
              </p:cNvPr>
              <p:cNvSpPr/>
              <p:nvPr userDrawn="1"/>
            </p:nvSpPr>
            <p:spPr>
              <a:xfrm>
                <a:off x="5120482" y="5045175"/>
                <a:ext cx="2505868" cy="166679"/>
              </a:xfrm>
              <a:custGeom>
                <a:avLst/>
                <a:gdLst>
                  <a:gd name="connsiteX0" fmla="*/ 0 w 484632"/>
                  <a:gd name="connsiteY0" fmla="*/ 0 h 45719"/>
                  <a:gd name="connsiteX1" fmla="*/ 484632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4151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391763 w 484632"/>
                  <a:gd name="connsiteY1" fmla="*/ 14287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45719"/>
                  <a:gd name="connsiteX1" fmla="*/ 448913 w 484632"/>
                  <a:gd name="connsiteY1" fmla="*/ 0 h 45719"/>
                  <a:gd name="connsiteX2" fmla="*/ 484632 w 484632"/>
                  <a:gd name="connsiteY2" fmla="*/ 45719 h 45719"/>
                  <a:gd name="connsiteX3" fmla="*/ 0 w 484632"/>
                  <a:gd name="connsiteY3" fmla="*/ 45719 h 45719"/>
                  <a:gd name="connsiteX4" fmla="*/ 0 w 484632"/>
                  <a:gd name="connsiteY4" fmla="*/ 0 h 45719"/>
                  <a:gd name="connsiteX0" fmla="*/ 0 w 484632"/>
                  <a:gd name="connsiteY0" fmla="*/ 0 h 52753"/>
                  <a:gd name="connsiteX1" fmla="*/ 448913 w 484632"/>
                  <a:gd name="connsiteY1" fmla="*/ 7034 h 52753"/>
                  <a:gd name="connsiteX2" fmla="*/ 484632 w 484632"/>
                  <a:gd name="connsiteY2" fmla="*/ 52753 h 52753"/>
                  <a:gd name="connsiteX3" fmla="*/ 0 w 484632"/>
                  <a:gd name="connsiteY3" fmla="*/ 52753 h 52753"/>
                  <a:gd name="connsiteX4" fmla="*/ 0 w 484632"/>
                  <a:gd name="connsiteY4" fmla="*/ 0 h 52753"/>
                  <a:gd name="connsiteX0" fmla="*/ 0 w 484632"/>
                  <a:gd name="connsiteY0" fmla="*/ 0 h 51748"/>
                  <a:gd name="connsiteX1" fmla="*/ 448913 w 484632"/>
                  <a:gd name="connsiteY1" fmla="*/ 6029 h 51748"/>
                  <a:gd name="connsiteX2" fmla="*/ 484632 w 484632"/>
                  <a:gd name="connsiteY2" fmla="*/ 51748 h 51748"/>
                  <a:gd name="connsiteX3" fmla="*/ 0 w 484632"/>
                  <a:gd name="connsiteY3" fmla="*/ 51748 h 51748"/>
                  <a:gd name="connsiteX4" fmla="*/ 0 w 484632"/>
                  <a:gd name="connsiteY4" fmla="*/ 0 h 51748"/>
                  <a:gd name="connsiteX0" fmla="*/ 0 w 484632"/>
                  <a:gd name="connsiteY0" fmla="*/ 0 h 48733"/>
                  <a:gd name="connsiteX1" fmla="*/ 448913 w 484632"/>
                  <a:gd name="connsiteY1" fmla="*/ 3014 h 48733"/>
                  <a:gd name="connsiteX2" fmla="*/ 484632 w 484632"/>
                  <a:gd name="connsiteY2" fmla="*/ 48733 h 48733"/>
                  <a:gd name="connsiteX3" fmla="*/ 0 w 484632"/>
                  <a:gd name="connsiteY3" fmla="*/ 48733 h 48733"/>
                  <a:gd name="connsiteX4" fmla="*/ 0 w 484632"/>
                  <a:gd name="connsiteY4" fmla="*/ 0 h 48733"/>
                  <a:gd name="connsiteX0" fmla="*/ 0 w 485848"/>
                  <a:gd name="connsiteY0" fmla="*/ 0 h 52752"/>
                  <a:gd name="connsiteX1" fmla="*/ 450129 w 485848"/>
                  <a:gd name="connsiteY1" fmla="*/ 7033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  <a:gd name="connsiteX0" fmla="*/ 0 w 485848"/>
                  <a:gd name="connsiteY0" fmla="*/ 0 h 52752"/>
                  <a:gd name="connsiteX1" fmla="*/ 469965 w 485848"/>
                  <a:gd name="connsiteY1" fmla="*/ 3265 h 52752"/>
                  <a:gd name="connsiteX2" fmla="*/ 485848 w 485848"/>
                  <a:gd name="connsiteY2" fmla="*/ 52752 h 52752"/>
                  <a:gd name="connsiteX3" fmla="*/ 1216 w 485848"/>
                  <a:gd name="connsiteY3" fmla="*/ 52752 h 52752"/>
                  <a:gd name="connsiteX4" fmla="*/ 0 w 485848"/>
                  <a:gd name="connsiteY4" fmla="*/ 0 h 52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5848" h="52752">
                    <a:moveTo>
                      <a:pt x="0" y="0"/>
                    </a:moveTo>
                    <a:lnTo>
                      <a:pt x="469965" y="3265"/>
                    </a:lnTo>
                    <a:lnTo>
                      <a:pt x="485848" y="52752"/>
                    </a:lnTo>
                    <a:lnTo>
                      <a:pt x="1216" y="52752"/>
                    </a:lnTo>
                    <a:cubicBezTo>
                      <a:pt x="811" y="35168"/>
                      <a:pt x="405" y="17584"/>
                      <a:pt x="0" y="0"/>
                    </a:cubicBezTo>
                    <a:close/>
                  </a:path>
                </a:pathLst>
              </a:custGeom>
              <a:solidFill>
                <a:srgbClr val="ABABAB"/>
              </a:solidFill>
              <a:ln w="6350" cap="rnd">
                <a:noFill/>
                <a:beve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EE1FA035-07C0-4B27-9198-47262949B66E}"/>
                  </a:ext>
                </a:extLst>
              </p:cNvPr>
              <p:cNvGrpSpPr/>
              <p:nvPr userDrawn="1"/>
            </p:nvGrpSpPr>
            <p:grpSpPr>
              <a:xfrm>
                <a:off x="5120481" y="994341"/>
                <a:ext cx="2861072" cy="4278953"/>
                <a:chOff x="38056887" y="3186057"/>
                <a:chExt cx="603100" cy="901982"/>
              </a:xfrm>
            </p:grpSpPr>
            <p:sp>
              <p:nvSpPr>
                <p:cNvPr id="28" name="Freeform 10">
                  <a:extLst>
                    <a:ext uri="{FF2B5EF4-FFF2-40B4-BE49-F238E27FC236}">
                      <a16:creationId xmlns:a16="http://schemas.microsoft.com/office/drawing/2014/main" id="{8D6207A7-5F7B-42FF-BDE5-668F3F9323C0}"/>
                    </a:ext>
                  </a:extLst>
                </p:cNvPr>
                <p:cNvSpPr/>
                <p:nvPr/>
              </p:nvSpPr>
              <p:spPr>
                <a:xfrm>
                  <a:off x="38056887" y="3340835"/>
                  <a:ext cx="533717" cy="704507"/>
                </a:xfrm>
                <a:custGeom>
                  <a:avLst/>
                  <a:gdLst>
                    <a:gd name="connsiteX0" fmla="*/ 406400 w 1451429"/>
                    <a:gd name="connsiteY0" fmla="*/ 1654629 h 1915886"/>
                    <a:gd name="connsiteX1" fmla="*/ 1364343 w 1451429"/>
                    <a:gd name="connsiteY1" fmla="*/ 1669143 h 1915886"/>
                    <a:gd name="connsiteX2" fmla="*/ 1451429 w 1451429"/>
                    <a:gd name="connsiteY2" fmla="*/ 1915886 h 1915886"/>
                    <a:gd name="connsiteX3" fmla="*/ 0 w 1451429"/>
                    <a:gd name="connsiteY3" fmla="*/ 1901372 h 1915886"/>
                    <a:gd name="connsiteX4" fmla="*/ 812800 w 1451429"/>
                    <a:gd name="connsiteY4" fmla="*/ 0 h 1915886"/>
                    <a:gd name="connsiteX5" fmla="*/ 914400 w 1451429"/>
                    <a:gd name="connsiteY5" fmla="*/ 348343 h 1915886"/>
                    <a:gd name="connsiteX6" fmla="*/ 406400 w 1451429"/>
                    <a:gd name="connsiteY6" fmla="*/ 1654629 h 1915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51429" h="1915886">
                      <a:moveTo>
                        <a:pt x="406400" y="1654629"/>
                      </a:moveTo>
                      <a:lnTo>
                        <a:pt x="1364343" y="1669143"/>
                      </a:lnTo>
                      <a:lnTo>
                        <a:pt x="1451429" y="1915886"/>
                      </a:lnTo>
                      <a:lnTo>
                        <a:pt x="0" y="1901372"/>
                      </a:lnTo>
                      <a:lnTo>
                        <a:pt x="812800" y="0"/>
                      </a:lnTo>
                      <a:lnTo>
                        <a:pt x="914400" y="348343"/>
                      </a:lnTo>
                      <a:lnTo>
                        <a:pt x="406400" y="1654629"/>
                      </a:lnTo>
                      <a:close/>
                    </a:path>
                  </a:pathLst>
                </a:custGeom>
                <a:solidFill>
                  <a:srgbClr val="216C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9" name="Freeform 11">
                  <a:extLst>
                    <a:ext uri="{FF2B5EF4-FFF2-40B4-BE49-F238E27FC236}">
                      <a16:creationId xmlns:a16="http://schemas.microsoft.com/office/drawing/2014/main" id="{02D220F0-1AFE-4C54-93C9-2C4EE8059CC3}"/>
                    </a:ext>
                  </a:extLst>
                </p:cNvPr>
                <p:cNvSpPr/>
                <p:nvPr/>
              </p:nvSpPr>
              <p:spPr>
                <a:xfrm>
                  <a:off x="38318408" y="3186057"/>
                  <a:ext cx="341579" cy="901982"/>
                </a:xfrm>
                <a:custGeom>
                  <a:avLst/>
                  <a:gdLst>
                    <a:gd name="connsiteX0" fmla="*/ 0 w 928914"/>
                    <a:gd name="connsiteY0" fmla="*/ 29029 h 2452914"/>
                    <a:gd name="connsiteX1" fmla="*/ 928914 w 928914"/>
                    <a:gd name="connsiteY1" fmla="*/ 2452914 h 2452914"/>
                    <a:gd name="connsiteX2" fmla="*/ 522514 w 928914"/>
                    <a:gd name="connsiteY2" fmla="*/ 0 h 2452914"/>
                    <a:gd name="connsiteX3" fmla="*/ 0 w 928914"/>
                    <a:gd name="connsiteY3" fmla="*/ 29029 h 2452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8914" h="2452914">
                      <a:moveTo>
                        <a:pt x="0" y="29029"/>
                      </a:moveTo>
                      <a:lnTo>
                        <a:pt x="928914" y="2452914"/>
                      </a:lnTo>
                      <a:lnTo>
                        <a:pt x="522514" y="0"/>
                      </a:lnTo>
                      <a:lnTo>
                        <a:pt x="0" y="29029"/>
                      </a:lnTo>
                      <a:close/>
                    </a:path>
                  </a:pathLst>
                </a:custGeom>
                <a:solidFill>
                  <a:srgbClr val="39393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4710651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3428" y="4406902"/>
            <a:ext cx="10259299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53428" y="2906713"/>
            <a:ext cx="10259299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9915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489" y="274638"/>
            <a:ext cx="10862787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830" y="1600202"/>
            <a:ext cx="59804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393" y="1600202"/>
            <a:ext cx="5982494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0517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489" y="274638"/>
            <a:ext cx="10862787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3488" y="1535113"/>
            <a:ext cx="533290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3488" y="2174875"/>
            <a:ext cx="533290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31272" y="1535113"/>
            <a:ext cx="533500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31272" y="2174875"/>
            <a:ext cx="533500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9209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C:\Users\Kalpana\Desktop\Sharmila_1\105960555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61119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1" name="Picture 2" descr="\\SONY\Users\Nivas\Desktop\analytic-edge\logo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4314" y="152400"/>
            <a:ext cx="2524774" cy="858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68087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9055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489" y="273050"/>
            <a:ext cx="3970869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18943" y="273052"/>
            <a:ext cx="6747333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3489" y="1435102"/>
            <a:ext cx="3970869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3488" y="6356352"/>
            <a:ext cx="2816278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23836" y="6356352"/>
            <a:ext cx="3822092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49997" y="6356352"/>
            <a:ext cx="2816278" cy="365125"/>
          </a:xfrm>
          <a:prstGeom prst="rect">
            <a:avLst/>
          </a:prstGeom>
        </p:spPr>
        <p:txBody>
          <a:bodyPr/>
          <a:lstStyle/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565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C6F2E6-ECCD-4D77-ABC8-33031DB8F3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690643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21" imgH="423" progId="TCLayout.ActiveDocument.1">
                  <p:embed/>
                </p:oleObj>
              </mc:Choice>
              <mc:Fallback>
                <p:oleObj name="think-cell Slide" r:id="rId21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C6F2E6-ECCD-4D77-ABC8-33031DB8F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597" y="6602666"/>
            <a:ext cx="2529681" cy="365125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© Analytic Edge Proprietary and Confidential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5481" y="6602666"/>
            <a:ext cx="576004" cy="365125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fld id="{4C2143BD-DDDC-4030-AFD1-D2DD3F00D3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75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alpha val="96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-12700"/>
            <a:ext cx="9400381" cy="1079500"/>
          </a:xfrm>
          <a:custGeom>
            <a:avLst/>
            <a:gdLst>
              <a:gd name="connsiteX0" fmla="*/ 0 w 8778081"/>
              <a:gd name="connsiteY0" fmla="*/ 0 h 1066800"/>
              <a:gd name="connsiteX1" fmla="*/ 8778081 w 8778081"/>
              <a:gd name="connsiteY1" fmla="*/ 0 h 1066800"/>
              <a:gd name="connsiteX2" fmla="*/ 8778081 w 8778081"/>
              <a:gd name="connsiteY2" fmla="*/ 1066800 h 1066800"/>
              <a:gd name="connsiteX3" fmla="*/ 0 w 8778081"/>
              <a:gd name="connsiteY3" fmla="*/ 1066800 h 1066800"/>
              <a:gd name="connsiteX4" fmla="*/ 0 w 8778081"/>
              <a:gd name="connsiteY4" fmla="*/ 0 h 1066800"/>
              <a:gd name="connsiteX0" fmla="*/ 0 w 8778081"/>
              <a:gd name="connsiteY0" fmla="*/ 0 h 1066800"/>
              <a:gd name="connsiteX1" fmla="*/ 8206581 w 8778081"/>
              <a:gd name="connsiteY1" fmla="*/ 0 h 1066800"/>
              <a:gd name="connsiteX2" fmla="*/ 8778081 w 8778081"/>
              <a:gd name="connsiteY2" fmla="*/ 1066800 h 1066800"/>
              <a:gd name="connsiteX3" fmla="*/ 0 w 8778081"/>
              <a:gd name="connsiteY3" fmla="*/ 1066800 h 1066800"/>
              <a:gd name="connsiteX4" fmla="*/ 0 w 8778081"/>
              <a:gd name="connsiteY4" fmla="*/ 0 h 1066800"/>
              <a:gd name="connsiteX0" fmla="*/ 0 w 9400381"/>
              <a:gd name="connsiteY0" fmla="*/ 12700 h 1079500"/>
              <a:gd name="connsiteX1" fmla="*/ 9400381 w 9400381"/>
              <a:gd name="connsiteY1" fmla="*/ 0 h 1079500"/>
              <a:gd name="connsiteX2" fmla="*/ 8778081 w 9400381"/>
              <a:gd name="connsiteY2" fmla="*/ 1079500 h 1079500"/>
              <a:gd name="connsiteX3" fmla="*/ 0 w 9400381"/>
              <a:gd name="connsiteY3" fmla="*/ 1079500 h 1079500"/>
              <a:gd name="connsiteX4" fmla="*/ 0 w 9400381"/>
              <a:gd name="connsiteY4" fmla="*/ 12700 h 1079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00381" h="1079500">
                <a:moveTo>
                  <a:pt x="0" y="12700"/>
                </a:moveTo>
                <a:lnTo>
                  <a:pt x="9400381" y="0"/>
                </a:lnTo>
                <a:lnTo>
                  <a:pt x="8778081" y="1079500"/>
                </a:lnTo>
                <a:lnTo>
                  <a:pt x="0" y="1079500"/>
                </a:lnTo>
                <a:lnTo>
                  <a:pt x="0" y="12700"/>
                </a:lnTo>
                <a:close/>
              </a:path>
            </a:pathLst>
          </a:custGeom>
          <a:solidFill>
            <a:srgbClr val="007FA8">
              <a:alpha val="74902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kern="0" dirty="0">
              <a:solidFill>
                <a:srgbClr val="000000"/>
              </a:solidFill>
            </a:endParaRPr>
          </a:p>
        </p:txBody>
      </p:sp>
      <p:pic>
        <p:nvPicPr>
          <p:cNvPr id="9" name="Picture 2" descr="\\SONY\Users\Nivas\Desktop\analytic-edge\logo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6167" y="254000"/>
            <a:ext cx="2524774" cy="858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 userDrawn="1"/>
        </p:nvSpPr>
        <p:spPr>
          <a:xfrm>
            <a:off x="0" y="6616700"/>
            <a:ext cx="12069763" cy="248556"/>
          </a:xfrm>
          <a:prstGeom prst="rect">
            <a:avLst/>
          </a:prstGeom>
          <a:solidFill>
            <a:srgbClr val="39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603488" y="6602666"/>
            <a:ext cx="2816278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23836" y="6602666"/>
            <a:ext cx="3822092" cy="365125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49997" y="6602666"/>
            <a:ext cx="2816278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C2143BD-DDDC-4030-AFD1-D2DD3F00D3B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824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hyperlink" Target="https://www.google.com/covid19/mobility/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hyperlink" Target="https://trends.google.com/trends/?geo=US" TargetMode="Externa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hyperlink" Target="https://fred.stlouisfed.org/series/UNRATE" TargetMode="Externa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hyperlink" Target="https://fred.stlouisfed.org/series/USALORSGPNOSTSAM" TargetMode="Externa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hyperlink" Target="https://data.europa.eu/euodp/en/data/dataset/covid-19-coronavirus-data" TargetMode="Externa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chart" Target="../charts/chart3.xml"/><Relationship Id="rId7" Type="http://schemas.openxmlformats.org/officeDocument/2006/relationships/chart" Target="../charts/chart7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10" Type="http://schemas.openxmlformats.org/officeDocument/2006/relationships/chart" Target="../charts/chart10.xml"/><Relationship Id="rId4" Type="http://schemas.openxmlformats.org/officeDocument/2006/relationships/chart" Target="../charts/chart4.xml"/><Relationship Id="rId9" Type="http://schemas.openxmlformats.org/officeDocument/2006/relationships/chart" Target="../charts/char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216D83-2D40-489B-874B-9520E7B5E0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216D83-2D40-489B-874B-9520E7B5E0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4142996" y="6570848"/>
            <a:ext cx="3783772" cy="361464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alytic Edge Proprietary and Confidential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BDE763-9331-4D53-8C77-E60A27057FB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23778" y="6570848"/>
            <a:ext cx="2788042" cy="361464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863E29E-AED7-4E00-9EAC-7C69EE22B721}"/>
              </a:ext>
            </a:extLst>
          </p:cNvPr>
          <p:cNvSpPr txBox="1"/>
          <p:nvPr/>
        </p:nvSpPr>
        <p:spPr>
          <a:xfrm>
            <a:off x="273712" y="2371907"/>
            <a:ext cx="72786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ea typeface="+mn-ea"/>
                <a:cs typeface="Aharoni" panose="020B0604020202020204" pitchFamily="2" charset="-79"/>
              </a:rPr>
              <a:t>Data Review Deck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B209D62-C8C0-408F-856B-E83717431A01}"/>
              </a:ext>
            </a:extLst>
          </p:cNvPr>
          <p:cNvSpPr/>
          <p:nvPr/>
        </p:nvSpPr>
        <p:spPr>
          <a:xfrm>
            <a:off x="273712" y="3145971"/>
            <a:ext cx="375573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Futura Condensed ExtraBold" panose="020B0602020204020303" pitchFamily="34" charset="-79"/>
              </a:rPr>
              <a:t>February 2021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E6B8740C-A693-4DDF-90C5-F32C7C2D3A35}"/>
              </a:ext>
            </a:extLst>
          </p:cNvPr>
          <p:cNvSpPr/>
          <p:nvPr/>
        </p:nvSpPr>
        <p:spPr>
          <a:xfrm>
            <a:off x="5218052" y="4997132"/>
            <a:ext cx="1265085" cy="1238728"/>
          </a:xfrm>
          <a:prstGeom prst="ellipse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4758" name="Picture 6" descr="Facebook logo and symbol, meaning, history, PNG">
            <a:extLst>
              <a:ext uri="{FF2B5EF4-FFF2-40B4-BE49-F238E27FC236}">
                <a16:creationId xmlns:a16="http://schemas.microsoft.com/office/drawing/2014/main" id="{7F535259-18DD-45AE-8E3D-9DEFFC2681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5028" y="4965064"/>
            <a:ext cx="1815423" cy="1270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C956AD59-5E41-4D3A-B2A0-AA48D396A2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0328" y="5693172"/>
            <a:ext cx="1089925" cy="532970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A50F1340-6473-43FA-ABBA-7F310E62B8A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029" y="5786778"/>
            <a:ext cx="1017935" cy="1103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3261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50B61E-C14B-4A4A-A3A7-9FFB5F32A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isplay Network Impress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C455D4-3875-488F-90CB-37785DBEE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15725B7-73BF-4968-979A-EE84B63911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DCD04C-79AD-4297-8E2B-00A506433C23}"/>
              </a:ext>
            </a:extLst>
          </p:cNvPr>
          <p:cNvSpPr txBox="1"/>
          <p:nvPr/>
        </p:nvSpPr>
        <p:spPr>
          <a:xfrm>
            <a:off x="254569" y="6115397"/>
            <a:ext cx="6052456" cy="47705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Note: CPM = Cost per 1,000 Impression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Source: </a:t>
            </a:r>
            <a:r>
              <a:rPr lang="en-US" sz="1000" dirty="0" err="1"/>
              <a:t>Yotta</a:t>
            </a:r>
            <a:r>
              <a:rPr lang="en-US" sz="1000" dirty="0"/>
              <a:t> Games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AA00F61-B737-40F3-B1E9-E2EED10C7544}"/>
              </a:ext>
            </a:extLst>
          </p:cNvPr>
          <p:cNvGraphicFramePr/>
          <p:nvPr/>
        </p:nvGraphicFramePr>
        <p:xfrm>
          <a:off x="242889" y="1235075"/>
          <a:ext cx="11504612" cy="356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6CCEBB0B-2E44-4D13-92FA-801F1C2D0B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435417"/>
              </p:ext>
            </p:extLst>
          </p:nvPr>
        </p:nvGraphicFramePr>
        <p:xfrm>
          <a:off x="990599" y="4746625"/>
          <a:ext cx="10756902" cy="9753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792817">
                  <a:extLst>
                    <a:ext uri="{9D8B030D-6E8A-4147-A177-3AD203B41FA5}">
                      <a16:colId xmlns:a16="http://schemas.microsoft.com/office/drawing/2014/main" val="2527033448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44138687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439520298"/>
                    </a:ext>
                  </a:extLst>
                </a:gridCol>
              </a:tblGrid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Display Network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+mn-lt"/>
                        </a:rPr>
                        <a:t>Q1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+mn-lt"/>
                        </a:rPr>
                        <a:t>Q2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+mn-lt"/>
                        </a:rPr>
                        <a:t>Q3’2020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 19 – APR 20</a:t>
                      </a:r>
                    </a:p>
                  </a:txBody>
                  <a:tcPr marL="9335" marR="9335" marT="93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 20 – OCT 20</a:t>
                      </a:r>
                    </a:p>
                  </a:txBody>
                  <a:tcPr marL="9335" marR="9335" marT="933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Impressions(in MM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.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06056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Spend(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6,003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62,833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7,851 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4,29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123,978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267397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CPM (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405432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E569D88-1683-4BA0-8A72-B4239CB67B45}"/>
              </a:ext>
            </a:extLst>
          </p:cNvPr>
          <p:cNvSpPr/>
          <p:nvPr/>
        </p:nvSpPr>
        <p:spPr>
          <a:xfrm>
            <a:off x="423656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5.9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0347C2B-B98F-4827-BAFE-A691A999A61E}"/>
              </a:ext>
            </a:extLst>
          </p:cNvPr>
          <p:cNvSpPr/>
          <p:nvPr/>
        </p:nvSpPr>
        <p:spPr>
          <a:xfrm>
            <a:off x="965057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56.5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266AB5F-6888-4DC1-919E-6C7C8C654AE3}"/>
              </a:ext>
            </a:extLst>
          </p:cNvPr>
          <p:cNvSpPr/>
          <p:nvPr/>
        </p:nvSpPr>
        <p:spPr>
          <a:xfrm>
            <a:off x="6034881" y="5020468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6.6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D63F4E9-6610-4601-8729-5ABA728DC2C7}"/>
              </a:ext>
            </a:extLst>
          </p:cNvPr>
          <p:cNvSpPr/>
          <p:nvPr/>
        </p:nvSpPr>
        <p:spPr>
          <a:xfrm>
            <a:off x="423656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313.8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CDADC61-8309-4225-982C-6444A60C07C0}"/>
              </a:ext>
            </a:extLst>
          </p:cNvPr>
          <p:cNvSpPr/>
          <p:nvPr/>
        </p:nvSpPr>
        <p:spPr>
          <a:xfrm>
            <a:off x="965057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309.8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AED51D4-AE85-41C1-BFC7-8BCDB23FB42B}"/>
              </a:ext>
            </a:extLst>
          </p:cNvPr>
          <p:cNvSpPr/>
          <p:nvPr/>
        </p:nvSpPr>
        <p:spPr>
          <a:xfrm>
            <a:off x="6034881" y="5253671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8.0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02B071F-F76A-42D2-BD82-9E820BEC8E74}"/>
              </a:ext>
            </a:extLst>
          </p:cNvPr>
          <p:cNvSpPr/>
          <p:nvPr/>
        </p:nvSpPr>
        <p:spPr>
          <a:xfrm>
            <a:off x="4236561" y="5491779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257.2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8EBDFCA-7DB3-4E45-B127-0BC19987D5FE}"/>
              </a:ext>
            </a:extLst>
          </p:cNvPr>
          <p:cNvSpPr/>
          <p:nvPr/>
        </p:nvSpPr>
        <p:spPr>
          <a:xfrm>
            <a:off x="9650571" y="5491779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61.9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A89206B-39A7-4B8E-BC95-6ECB1667B022}"/>
              </a:ext>
            </a:extLst>
          </p:cNvPr>
          <p:cNvSpPr/>
          <p:nvPr/>
        </p:nvSpPr>
        <p:spPr>
          <a:xfrm>
            <a:off x="6034881" y="5491779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1.5%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B4E66BE-1F90-406C-8285-F03A4DF3526F}"/>
              </a:ext>
            </a:extLst>
          </p:cNvPr>
          <p:cNvSpPr txBox="1"/>
          <p:nvPr/>
        </p:nvSpPr>
        <p:spPr>
          <a:xfrm>
            <a:off x="9248839" y="5730677"/>
            <a:ext cx="2532888" cy="86177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1000" i="1" dirty="0"/>
              <a:t>Q1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Jan– 31</a:t>
            </a:r>
            <a:r>
              <a:rPr lang="en-US" sz="1000" i="1" baseline="30000" dirty="0"/>
              <a:t>th</a:t>
            </a:r>
            <a:r>
              <a:rPr lang="en-US" sz="1000" i="1" dirty="0"/>
              <a:t> March (90 days)</a:t>
            </a:r>
          </a:p>
          <a:p>
            <a:r>
              <a:rPr lang="en-US" sz="1000" i="1" dirty="0"/>
              <a:t>Q2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Apr – 30</a:t>
            </a:r>
            <a:r>
              <a:rPr lang="en-US" sz="1000" i="1" baseline="30000" dirty="0"/>
              <a:t>th</a:t>
            </a:r>
            <a:r>
              <a:rPr lang="en-US" sz="1000" i="1" dirty="0"/>
              <a:t> June (90 days)</a:t>
            </a:r>
          </a:p>
          <a:p>
            <a:r>
              <a:rPr lang="en-US" sz="1000" i="1" dirty="0"/>
              <a:t>Q3’2020 – 1st July – 30</a:t>
            </a:r>
            <a:r>
              <a:rPr lang="en-US" sz="1000" i="1" baseline="30000" dirty="0"/>
              <a:t>th</a:t>
            </a:r>
            <a:r>
              <a:rPr lang="en-US" sz="1000" i="1" dirty="0"/>
              <a:t> Sep (91 days)</a:t>
            </a:r>
          </a:p>
          <a:p>
            <a:r>
              <a:rPr lang="en-US" sz="1000" i="1" dirty="0"/>
              <a:t>01-Nov-19 – 30-Apr-20 ( 181 days)</a:t>
            </a:r>
          </a:p>
          <a:p>
            <a:r>
              <a:rPr lang="en-US" sz="1000" i="1" dirty="0"/>
              <a:t>01-May-20 – 30-Oct-20 ( 182 days)</a:t>
            </a:r>
          </a:p>
        </p:txBody>
      </p:sp>
    </p:spTree>
    <p:extLst>
      <p:ext uri="{BB962C8B-B14F-4D97-AF65-F5344CB8AC3E}">
        <p14:creationId xmlns:p14="http://schemas.microsoft.com/office/powerpoint/2010/main" val="38004096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50B61E-C14B-4A4A-A3A7-9FFB5F32A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YouTube Impress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C455D4-3875-488F-90CB-37785DBEE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15725B7-73BF-4968-979A-EE84B63911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DCD04C-79AD-4297-8E2B-00A506433C23}"/>
              </a:ext>
            </a:extLst>
          </p:cNvPr>
          <p:cNvSpPr txBox="1"/>
          <p:nvPr/>
        </p:nvSpPr>
        <p:spPr>
          <a:xfrm>
            <a:off x="254569" y="6115397"/>
            <a:ext cx="6052456" cy="47705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Note: CPM = Cost per 1,000 Impression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Source: </a:t>
            </a:r>
            <a:r>
              <a:rPr lang="en-US" sz="1000" dirty="0" err="1"/>
              <a:t>Yotta</a:t>
            </a:r>
            <a:r>
              <a:rPr lang="en-US" sz="1000" dirty="0"/>
              <a:t> Games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AA00F61-B737-40F3-B1E9-E2EED10C7544}"/>
              </a:ext>
            </a:extLst>
          </p:cNvPr>
          <p:cNvGraphicFramePr/>
          <p:nvPr/>
        </p:nvGraphicFramePr>
        <p:xfrm>
          <a:off x="242889" y="1235075"/>
          <a:ext cx="11504612" cy="356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6CCEBB0B-2E44-4D13-92FA-801F1C2D0B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1993971"/>
              </p:ext>
            </p:extLst>
          </p:nvPr>
        </p:nvGraphicFramePr>
        <p:xfrm>
          <a:off x="990599" y="4746625"/>
          <a:ext cx="10756902" cy="9753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792817">
                  <a:extLst>
                    <a:ext uri="{9D8B030D-6E8A-4147-A177-3AD203B41FA5}">
                      <a16:colId xmlns:a16="http://schemas.microsoft.com/office/drawing/2014/main" val="2527033448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44138687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439520298"/>
                    </a:ext>
                  </a:extLst>
                </a:gridCol>
              </a:tblGrid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Y</a:t>
                      </a:r>
                      <a:r>
                        <a:rPr lang="en-IN" sz="1000" dirty="0" err="1">
                          <a:latin typeface="+mn-lt"/>
                        </a:rPr>
                        <a:t>ouTube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+mn-lt"/>
                        </a:rPr>
                        <a:t>Q1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+mn-lt"/>
                        </a:rPr>
                        <a:t>Q2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+mn-lt"/>
                        </a:rPr>
                        <a:t>Q3’2020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 19 – APR 20</a:t>
                      </a:r>
                    </a:p>
                  </a:txBody>
                  <a:tcPr marL="9335" marR="9335" marT="93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 20 – OCT 20</a:t>
                      </a:r>
                    </a:p>
                  </a:txBody>
                  <a:tcPr marL="9335" marR="9335" marT="933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Impressions(in MM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06056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Spend(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247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,309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,305 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,49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5,316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267397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CPM (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405432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E569D88-1683-4BA0-8A72-B4239CB67B45}"/>
              </a:ext>
            </a:extLst>
          </p:cNvPr>
          <p:cNvSpPr/>
          <p:nvPr/>
        </p:nvSpPr>
        <p:spPr>
          <a:xfrm>
            <a:off x="423656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442.9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0347C2B-B98F-4827-BAFE-A691A999A61E}"/>
              </a:ext>
            </a:extLst>
          </p:cNvPr>
          <p:cNvSpPr/>
          <p:nvPr/>
        </p:nvSpPr>
        <p:spPr>
          <a:xfrm>
            <a:off x="965057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616.8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266AB5F-6888-4DC1-919E-6C7C8C654AE3}"/>
              </a:ext>
            </a:extLst>
          </p:cNvPr>
          <p:cNvSpPr/>
          <p:nvPr/>
        </p:nvSpPr>
        <p:spPr>
          <a:xfrm>
            <a:off x="603488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258.0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D63F4E9-6610-4601-8729-5ABA728DC2C7}"/>
              </a:ext>
            </a:extLst>
          </p:cNvPr>
          <p:cNvSpPr/>
          <p:nvPr/>
        </p:nvSpPr>
        <p:spPr>
          <a:xfrm>
            <a:off x="423656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225.1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CDADC61-8309-4225-982C-6444A60C07C0}"/>
              </a:ext>
            </a:extLst>
          </p:cNvPr>
          <p:cNvSpPr/>
          <p:nvPr/>
        </p:nvSpPr>
        <p:spPr>
          <a:xfrm>
            <a:off x="965057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729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AED51D4-AE85-41C1-BFC7-8BCDB23FB42B}"/>
              </a:ext>
            </a:extLst>
          </p:cNvPr>
          <p:cNvSpPr/>
          <p:nvPr/>
        </p:nvSpPr>
        <p:spPr>
          <a:xfrm>
            <a:off x="603488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96.9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02B071F-F76A-42D2-BD82-9E820BEC8E74}"/>
              </a:ext>
            </a:extLst>
          </p:cNvPr>
          <p:cNvSpPr/>
          <p:nvPr/>
        </p:nvSpPr>
        <p:spPr>
          <a:xfrm>
            <a:off x="4236561" y="5488067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40.1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8EBDFCA-7DB3-4E45-B127-0BC19987D5FE}"/>
              </a:ext>
            </a:extLst>
          </p:cNvPr>
          <p:cNvSpPr/>
          <p:nvPr/>
        </p:nvSpPr>
        <p:spPr>
          <a:xfrm>
            <a:off x="9650571" y="5488067"/>
            <a:ext cx="640080" cy="182880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13.5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A89206B-39A7-4B8E-BC95-6ECB1667B022}"/>
              </a:ext>
            </a:extLst>
          </p:cNvPr>
          <p:cNvSpPr/>
          <p:nvPr/>
        </p:nvSpPr>
        <p:spPr>
          <a:xfrm>
            <a:off x="6034881" y="5488067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17.1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26D7EDB-8FFA-4324-BB04-D313FD858383}"/>
              </a:ext>
            </a:extLst>
          </p:cNvPr>
          <p:cNvSpPr txBox="1"/>
          <p:nvPr/>
        </p:nvSpPr>
        <p:spPr>
          <a:xfrm>
            <a:off x="9248839" y="5730677"/>
            <a:ext cx="2532888" cy="86177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1000" i="1" dirty="0"/>
              <a:t>Q1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Jan– 31</a:t>
            </a:r>
            <a:r>
              <a:rPr lang="en-US" sz="1000" i="1" baseline="30000" dirty="0"/>
              <a:t>th</a:t>
            </a:r>
            <a:r>
              <a:rPr lang="en-US" sz="1000" i="1" dirty="0"/>
              <a:t> March (90 days)</a:t>
            </a:r>
          </a:p>
          <a:p>
            <a:r>
              <a:rPr lang="en-US" sz="1000" i="1" dirty="0"/>
              <a:t>Q2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Apr – 30</a:t>
            </a:r>
            <a:r>
              <a:rPr lang="en-US" sz="1000" i="1" baseline="30000" dirty="0"/>
              <a:t>th</a:t>
            </a:r>
            <a:r>
              <a:rPr lang="en-US" sz="1000" i="1" dirty="0"/>
              <a:t> June (90 days)</a:t>
            </a:r>
          </a:p>
          <a:p>
            <a:r>
              <a:rPr lang="en-US" sz="1000" i="1" dirty="0"/>
              <a:t>Q3’2020 – 1st July – 30</a:t>
            </a:r>
            <a:r>
              <a:rPr lang="en-US" sz="1000" i="1" baseline="30000" dirty="0"/>
              <a:t>th</a:t>
            </a:r>
            <a:r>
              <a:rPr lang="en-US" sz="1000" i="1" dirty="0"/>
              <a:t> Sep (91 days)</a:t>
            </a:r>
          </a:p>
          <a:p>
            <a:r>
              <a:rPr lang="en-US" sz="1000" i="1" dirty="0"/>
              <a:t>01-Nov-19 – 30-Apr-20 ( 181 days)</a:t>
            </a:r>
          </a:p>
          <a:p>
            <a:r>
              <a:rPr lang="en-US" sz="1000" i="1" dirty="0"/>
              <a:t>01-May-20 – 30-Oct-20 ( 182 days)</a:t>
            </a:r>
          </a:p>
        </p:txBody>
      </p:sp>
    </p:spTree>
    <p:extLst>
      <p:ext uri="{BB962C8B-B14F-4D97-AF65-F5344CB8AC3E}">
        <p14:creationId xmlns:p14="http://schemas.microsoft.com/office/powerpoint/2010/main" val="1831668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50B61E-C14B-4A4A-A3A7-9FFB5F32A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Non-Social Displa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C455D4-3875-488F-90CB-37785DBEE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15725B7-73BF-4968-979A-EE84B63911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DCD04C-79AD-4297-8E2B-00A506433C23}"/>
              </a:ext>
            </a:extLst>
          </p:cNvPr>
          <p:cNvSpPr txBox="1"/>
          <p:nvPr/>
        </p:nvSpPr>
        <p:spPr>
          <a:xfrm>
            <a:off x="254569" y="6115397"/>
            <a:ext cx="6052456" cy="47705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Note: CPM = Cost per 1,000 Impression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Source: </a:t>
            </a:r>
            <a:r>
              <a:rPr lang="en-US" sz="1000" dirty="0" err="1"/>
              <a:t>Yotta</a:t>
            </a:r>
            <a:r>
              <a:rPr lang="en-US" sz="1000" dirty="0"/>
              <a:t> Games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AA00F61-B737-40F3-B1E9-E2EED10C7544}"/>
              </a:ext>
            </a:extLst>
          </p:cNvPr>
          <p:cNvGraphicFramePr/>
          <p:nvPr/>
        </p:nvGraphicFramePr>
        <p:xfrm>
          <a:off x="242889" y="1235075"/>
          <a:ext cx="11504612" cy="356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6CCEBB0B-2E44-4D13-92FA-801F1C2D0B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1120059"/>
              </p:ext>
            </p:extLst>
          </p:nvPr>
        </p:nvGraphicFramePr>
        <p:xfrm>
          <a:off x="990599" y="4746625"/>
          <a:ext cx="10756902" cy="9753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792817">
                  <a:extLst>
                    <a:ext uri="{9D8B030D-6E8A-4147-A177-3AD203B41FA5}">
                      <a16:colId xmlns:a16="http://schemas.microsoft.com/office/drawing/2014/main" val="2527033448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44138687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439520298"/>
                    </a:ext>
                  </a:extLst>
                </a:gridCol>
              </a:tblGrid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Non-Social Display</a:t>
                      </a:r>
                      <a:endParaRPr lang="en-IN" sz="10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1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2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3’2020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 19 – APR 20</a:t>
                      </a:r>
                    </a:p>
                  </a:txBody>
                  <a:tcPr marL="9335" marR="9335" marT="93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 20 – OCT 20</a:t>
                      </a:r>
                    </a:p>
                  </a:txBody>
                  <a:tcPr marL="9335" marR="9335" marT="933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Impressions(in MM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06056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Spend(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_                                          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,536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,351 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,75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6,981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267397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CPM (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405432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E569D88-1683-4BA0-8A72-B4239CB67B45}"/>
              </a:ext>
            </a:extLst>
          </p:cNvPr>
          <p:cNvSpPr/>
          <p:nvPr/>
        </p:nvSpPr>
        <p:spPr>
          <a:xfrm>
            <a:off x="423656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-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0347C2B-B98F-4827-BAFE-A691A999A61E}"/>
              </a:ext>
            </a:extLst>
          </p:cNvPr>
          <p:cNvSpPr/>
          <p:nvPr/>
        </p:nvSpPr>
        <p:spPr>
          <a:xfrm>
            <a:off x="965057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4,008.1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266AB5F-6888-4DC1-919E-6C7C8C654AE3}"/>
              </a:ext>
            </a:extLst>
          </p:cNvPr>
          <p:cNvSpPr/>
          <p:nvPr/>
        </p:nvSpPr>
        <p:spPr>
          <a:xfrm>
            <a:off x="603488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9.2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D63F4E9-6610-4601-8729-5ABA728DC2C7}"/>
              </a:ext>
            </a:extLst>
          </p:cNvPr>
          <p:cNvSpPr/>
          <p:nvPr/>
        </p:nvSpPr>
        <p:spPr>
          <a:xfrm>
            <a:off x="423656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-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CDADC61-8309-4225-982C-6444A60C07C0}"/>
              </a:ext>
            </a:extLst>
          </p:cNvPr>
          <p:cNvSpPr/>
          <p:nvPr/>
        </p:nvSpPr>
        <p:spPr>
          <a:xfrm>
            <a:off x="965057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4,284.6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AED51D4-AE85-41C1-BFC7-8BCDB23FB42B}"/>
              </a:ext>
            </a:extLst>
          </p:cNvPr>
          <p:cNvSpPr/>
          <p:nvPr/>
        </p:nvSpPr>
        <p:spPr>
          <a:xfrm>
            <a:off x="6034881" y="5253671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6.7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02B071F-F76A-42D2-BD82-9E820BEC8E74}"/>
              </a:ext>
            </a:extLst>
          </p:cNvPr>
          <p:cNvSpPr/>
          <p:nvPr/>
        </p:nvSpPr>
        <p:spPr>
          <a:xfrm>
            <a:off x="4236561" y="5488067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-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8EBDFCA-7DB3-4E45-B127-0BC19987D5FE}"/>
              </a:ext>
            </a:extLst>
          </p:cNvPr>
          <p:cNvSpPr/>
          <p:nvPr/>
        </p:nvSpPr>
        <p:spPr>
          <a:xfrm>
            <a:off x="9650571" y="5488067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6.7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A89206B-39A7-4B8E-BC95-6ECB1667B022}"/>
              </a:ext>
            </a:extLst>
          </p:cNvPr>
          <p:cNvSpPr/>
          <p:nvPr/>
        </p:nvSpPr>
        <p:spPr>
          <a:xfrm>
            <a:off x="6034881" y="5488067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14.6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AB26FD7-79AC-4514-8CC9-84DD6FC4D05E}"/>
              </a:ext>
            </a:extLst>
          </p:cNvPr>
          <p:cNvSpPr txBox="1"/>
          <p:nvPr/>
        </p:nvSpPr>
        <p:spPr>
          <a:xfrm>
            <a:off x="9248839" y="5730677"/>
            <a:ext cx="2532888" cy="86177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1000" i="1" dirty="0"/>
              <a:t>Q1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Jan– 31</a:t>
            </a:r>
            <a:r>
              <a:rPr lang="en-US" sz="1000" i="1" baseline="30000" dirty="0"/>
              <a:t>th</a:t>
            </a:r>
            <a:r>
              <a:rPr lang="en-US" sz="1000" i="1" dirty="0"/>
              <a:t> March (90 days)</a:t>
            </a:r>
          </a:p>
          <a:p>
            <a:r>
              <a:rPr lang="en-US" sz="1000" i="1" dirty="0"/>
              <a:t>Q2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Apr – 30</a:t>
            </a:r>
            <a:r>
              <a:rPr lang="en-US" sz="1000" i="1" baseline="30000" dirty="0"/>
              <a:t>th</a:t>
            </a:r>
            <a:r>
              <a:rPr lang="en-US" sz="1000" i="1" dirty="0"/>
              <a:t> June (90 days)</a:t>
            </a:r>
          </a:p>
          <a:p>
            <a:r>
              <a:rPr lang="en-US" sz="1000" i="1" dirty="0"/>
              <a:t>Q3’2020 – 1st July – 30</a:t>
            </a:r>
            <a:r>
              <a:rPr lang="en-US" sz="1000" i="1" baseline="30000" dirty="0"/>
              <a:t>th</a:t>
            </a:r>
            <a:r>
              <a:rPr lang="en-US" sz="1000" i="1" dirty="0"/>
              <a:t> Sep (91 days)</a:t>
            </a:r>
          </a:p>
          <a:p>
            <a:r>
              <a:rPr lang="en-US" sz="1000" i="1" dirty="0"/>
              <a:t>01-Nov-19 – 30-Apr-20 ( 181 days)</a:t>
            </a:r>
          </a:p>
          <a:p>
            <a:r>
              <a:rPr lang="en-US" sz="1000" i="1" dirty="0"/>
              <a:t>01-May-20 – 30-Oct-20 ( 182 days)</a:t>
            </a:r>
          </a:p>
        </p:txBody>
      </p:sp>
    </p:spTree>
    <p:extLst>
      <p:ext uri="{BB962C8B-B14F-4D97-AF65-F5344CB8AC3E}">
        <p14:creationId xmlns:p14="http://schemas.microsoft.com/office/powerpoint/2010/main" val="41792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50B61E-C14B-4A4A-A3A7-9FFB5F32A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9494" y="164816"/>
            <a:ext cx="10862787" cy="781992"/>
          </a:xfrm>
        </p:spPr>
        <p:txBody>
          <a:bodyPr/>
          <a:lstStyle/>
          <a:p>
            <a:r>
              <a:rPr lang="en-IN" dirty="0"/>
              <a:t>Search Impressions(Google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C455D4-3875-488F-90CB-37785DBEE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15725B7-73BF-4968-979A-EE84B63911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DCD04C-79AD-4297-8E2B-00A506433C23}"/>
              </a:ext>
            </a:extLst>
          </p:cNvPr>
          <p:cNvSpPr txBox="1"/>
          <p:nvPr/>
        </p:nvSpPr>
        <p:spPr>
          <a:xfrm>
            <a:off x="254569" y="6115397"/>
            <a:ext cx="6052456" cy="47705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Note: CPM = Cost per 1,000 Impression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Source: </a:t>
            </a:r>
            <a:r>
              <a:rPr lang="en-US" sz="1000" dirty="0" err="1"/>
              <a:t>Yotta</a:t>
            </a:r>
            <a:r>
              <a:rPr lang="en-US" sz="1000" dirty="0"/>
              <a:t> Games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AA00F61-B737-40F3-B1E9-E2EED10C7544}"/>
              </a:ext>
            </a:extLst>
          </p:cNvPr>
          <p:cNvGraphicFramePr/>
          <p:nvPr/>
        </p:nvGraphicFramePr>
        <p:xfrm>
          <a:off x="242889" y="1235075"/>
          <a:ext cx="11504612" cy="356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6CCEBB0B-2E44-4D13-92FA-801F1C2D0B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3941770"/>
              </p:ext>
            </p:extLst>
          </p:nvPr>
        </p:nvGraphicFramePr>
        <p:xfrm>
          <a:off x="990599" y="4746625"/>
          <a:ext cx="10756902" cy="9753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792817">
                  <a:extLst>
                    <a:ext uri="{9D8B030D-6E8A-4147-A177-3AD203B41FA5}">
                      <a16:colId xmlns:a16="http://schemas.microsoft.com/office/drawing/2014/main" val="2527033448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44138687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439520298"/>
                    </a:ext>
                  </a:extLst>
                </a:gridCol>
              </a:tblGrid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Search (Google)</a:t>
                      </a:r>
                      <a:endParaRPr lang="en-IN" sz="10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1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2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3’2020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 19 – APR 20</a:t>
                      </a:r>
                    </a:p>
                  </a:txBody>
                  <a:tcPr marL="9335" marR="9335" marT="93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 20 – OCT 20</a:t>
                      </a:r>
                    </a:p>
                  </a:txBody>
                  <a:tcPr marL="9335" marR="9335" marT="933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Impressions(in MM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06056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Spend(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,478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,416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,176 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,68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,727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267397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CPM (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7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405432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E569D88-1683-4BA0-8A72-B4239CB67B45}"/>
              </a:ext>
            </a:extLst>
          </p:cNvPr>
          <p:cNvSpPr/>
          <p:nvPr/>
        </p:nvSpPr>
        <p:spPr>
          <a:xfrm>
            <a:off x="423656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23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0347C2B-B98F-4827-BAFE-A691A999A61E}"/>
              </a:ext>
            </a:extLst>
          </p:cNvPr>
          <p:cNvSpPr/>
          <p:nvPr/>
        </p:nvSpPr>
        <p:spPr>
          <a:xfrm>
            <a:off x="965057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54.9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266AB5F-6888-4DC1-919E-6C7C8C654AE3}"/>
              </a:ext>
            </a:extLst>
          </p:cNvPr>
          <p:cNvSpPr/>
          <p:nvPr/>
        </p:nvSpPr>
        <p:spPr>
          <a:xfrm>
            <a:off x="603488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59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D63F4E9-6610-4601-8729-5ABA728DC2C7}"/>
              </a:ext>
            </a:extLst>
          </p:cNvPr>
          <p:cNvSpPr/>
          <p:nvPr/>
        </p:nvSpPr>
        <p:spPr>
          <a:xfrm>
            <a:off x="423656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53.6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CDADC61-8309-4225-982C-6444A60C07C0}"/>
              </a:ext>
            </a:extLst>
          </p:cNvPr>
          <p:cNvSpPr/>
          <p:nvPr/>
        </p:nvSpPr>
        <p:spPr>
          <a:xfrm>
            <a:off x="965057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95.6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AED51D4-AE85-41C1-BFC7-8BCDB23FB42B}"/>
              </a:ext>
            </a:extLst>
          </p:cNvPr>
          <p:cNvSpPr/>
          <p:nvPr/>
        </p:nvSpPr>
        <p:spPr>
          <a:xfrm>
            <a:off x="6034881" y="5253671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44.7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02B071F-F76A-42D2-BD82-9E820BEC8E74}"/>
              </a:ext>
            </a:extLst>
          </p:cNvPr>
          <p:cNvSpPr/>
          <p:nvPr/>
        </p:nvSpPr>
        <p:spPr>
          <a:xfrm>
            <a:off x="4236561" y="5488067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24.9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8EBDFCA-7DB3-4E45-B127-0BC19987D5FE}"/>
              </a:ext>
            </a:extLst>
          </p:cNvPr>
          <p:cNvSpPr/>
          <p:nvPr/>
        </p:nvSpPr>
        <p:spPr>
          <a:xfrm>
            <a:off x="9650571" y="5488067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6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A89206B-39A7-4B8E-BC95-6ECB1667B022}"/>
              </a:ext>
            </a:extLst>
          </p:cNvPr>
          <p:cNvSpPr/>
          <p:nvPr/>
        </p:nvSpPr>
        <p:spPr>
          <a:xfrm>
            <a:off x="6034881" y="5488067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9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D4B8C6-EB53-42F7-BC08-1FE8376FE64A}"/>
              </a:ext>
            </a:extLst>
          </p:cNvPr>
          <p:cNvSpPr txBox="1"/>
          <p:nvPr/>
        </p:nvSpPr>
        <p:spPr>
          <a:xfrm>
            <a:off x="9248839" y="5730677"/>
            <a:ext cx="2532888" cy="86177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1000" i="1" dirty="0"/>
              <a:t>Q1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Jan– 31</a:t>
            </a:r>
            <a:r>
              <a:rPr lang="en-US" sz="1000" i="1" baseline="30000" dirty="0"/>
              <a:t>th</a:t>
            </a:r>
            <a:r>
              <a:rPr lang="en-US" sz="1000" i="1" dirty="0"/>
              <a:t> March (90 days)</a:t>
            </a:r>
          </a:p>
          <a:p>
            <a:r>
              <a:rPr lang="en-US" sz="1000" i="1" dirty="0"/>
              <a:t>Q2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Apr – 30</a:t>
            </a:r>
            <a:r>
              <a:rPr lang="en-US" sz="1000" i="1" baseline="30000" dirty="0"/>
              <a:t>th</a:t>
            </a:r>
            <a:r>
              <a:rPr lang="en-US" sz="1000" i="1" dirty="0"/>
              <a:t> June (90 days)</a:t>
            </a:r>
          </a:p>
          <a:p>
            <a:r>
              <a:rPr lang="en-US" sz="1000" i="1" dirty="0"/>
              <a:t>Q3’2020 – 1st July – 30</a:t>
            </a:r>
            <a:r>
              <a:rPr lang="en-US" sz="1000" i="1" baseline="30000" dirty="0"/>
              <a:t>th</a:t>
            </a:r>
            <a:r>
              <a:rPr lang="en-US" sz="1000" i="1" dirty="0"/>
              <a:t> Sep (91 days)</a:t>
            </a:r>
          </a:p>
          <a:p>
            <a:r>
              <a:rPr lang="en-US" sz="1000" i="1" dirty="0"/>
              <a:t>01-Nov-19 – 30-Apr-20 ( 181 days)</a:t>
            </a:r>
          </a:p>
          <a:p>
            <a:r>
              <a:rPr lang="en-US" sz="1000" i="1" dirty="0"/>
              <a:t>01-May-20 – 30-Oct-20 ( 182 days)</a:t>
            </a:r>
          </a:p>
        </p:txBody>
      </p:sp>
      <p:pic>
        <p:nvPicPr>
          <p:cNvPr id="19" name="Picture 6" descr="Evolving the Google Identity - Library - Google Design">
            <a:extLst>
              <a:ext uri="{FF2B5EF4-FFF2-40B4-BE49-F238E27FC236}">
                <a16:creationId xmlns:a16="http://schemas.microsoft.com/office/drawing/2014/main" id="{5FE2FA56-8BE9-4AB2-9BC5-9E1D59C343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248" t="27716" r="38130" b="27950"/>
          <a:stretch/>
        </p:blipFill>
        <p:spPr bwMode="auto">
          <a:xfrm>
            <a:off x="126312" y="208606"/>
            <a:ext cx="824265" cy="781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44127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50B61E-C14B-4A4A-A3A7-9FFB5F32A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9494" y="164816"/>
            <a:ext cx="10862787" cy="781992"/>
          </a:xfrm>
        </p:spPr>
        <p:txBody>
          <a:bodyPr/>
          <a:lstStyle/>
          <a:p>
            <a:r>
              <a:rPr lang="en-IN" dirty="0"/>
              <a:t>Search Impressions(Apple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C455D4-3875-488F-90CB-37785DBEE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15725B7-73BF-4968-979A-EE84B63911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DCD04C-79AD-4297-8E2B-00A506433C23}"/>
              </a:ext>
            </a:extLst>
          </p:cNvPr>
          <p:cNvSpPr txBox="1"/>
          <p:nvPr/>
        </p:nvSpPr>
        <p:spPr>
          <a:xfrm>
            <a:off x="254569" y="6115397"/>
            <a:ext cx="6052456" cy="47705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Note: CPM = Cost per 1,000 Impression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Source: </a:t>
            </a:r>
            <a:r>
              <a:rPr lang="en-US" sz="1000" dirty="0" err="1"/>
              <a:t>Yotta</a:t>
            </a:r>
            <a:r>
              <a:rPr lang="en-US" sz="1000" dirty="0"/>
              <a:t> Games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AA00F61-B737-40F3-B1E9-E2EED10C7544}"/>
              </a:ext>
            </a:extLst>
          </p:cNvPr>
          <p:cNvGraphicFramePr/>
          <p:nvPr/>
        </p:nvGraphicFramePr>
        <p:xfrm>
          <a:off x="242889" y="1235075"/>
          <a:ext cx="11504612" cy="356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6CCEBB0B-2E44-4D13-92FA-801F1C2D0B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0987152"/>
              </p:ext>
            </p:extLst>
          </p:nvPr>
        </p:nvGraphicFramePr>
        <p:xfrm>
          <a:off x="990599" y="4746625"/>
          <a:ext cx="10756902" cy="9753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792817">
                  <a:extLst>
                    <a:ext uri="{9D8B030D-6E8A-4147-A177-3AD203B41FA5}">
                      <a16:colId xmlns:a16="http://schemas.microsoft.com/office/drawing/2014/main" val="2527033448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44138687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439520298"/>
                    </a:ext>
                  </a:extLst>
                </a:gridCol>
              </a:tblGrid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Search (Apple)</a:t>
                      </a:r>
                      <a:endParaRPr lang="en-IN" sz="10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1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2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3’2020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 19 – APR 20</a:t>
                      </a:r>
                    </a:p>
                  </a:txBody>
                  <a:tcPr marL="9335" marR="9335" marT="93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 20 – OCT 20</a:t>
                      </a:r>
                    </a:p>
                  </a:txBody>
                  <a:tcPr marL="9335" marR="9335" marT="933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Impressions(in MM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06056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Spend(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,770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,199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,320 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,96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,088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267397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CPM (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405432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E569D88-1683-4BA0-8A72-B4239CB67B45}"/>
              </a:ext>
            </a:extLst>
          </p:cNvPr>
          <p:cNvSpPr/>
          <p:nvPr/>
        </p:nvSpPr>
        <p:spPr>
          <a:xfrm>
            <a:off x="423656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84.7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0347C2B-B98F-4827-BAFE-A691A999A61E}"/>
              </a:ext>
            </a:extLst>
          </p:cNvPr>
          <p:cNvSpPr/>
          <p:nvPr/>
        </p:nvSpPr>
        <p:spPr>
          <a:xfrm>
            <a:off x="965057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37.8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266AB5F-6888-4DC1-919E-6C7C8C654AE3}"/>
              </a:ext>
            </a:extLst>
          </p:cNvPr>
          <p:cNvSpPr/>
          <p:nvPr/>
        </p:nvSpPr>
        <p:spPr>
          <a:xfrm>
            <a:off x="603488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4.6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D63F4E9-6610-4601-8729-5ABA728DC2C7}"/>
              </a:ext>
            </a:extLst>
          </p:cNvPr>
          <p:cNvSpPr/>
          <p:nvPr/>
        </p:nvSpPr>
        <p:spPr>
          <a:xfrm>
            <a:off x="423656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80.7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CDADC61-8309-4225-982C-6444A60C07C0}"/>
              </a:ext>
            </a:extLst>
          </p:cNvPr>
          <p:cNvSpPr/>
          <p:nvPr/>
        </p:nvSpPr>
        <p:spPr>
          <a:xfrm>
            <a:off x="965057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8.9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AED51D4-AE85-41C1-BFC7-8BCDB23FB42B}"/>
              </a:ext>
            </a:extLst>
          </p:cNvPr>
          <p:cNvSpPr/>
          <p:nvPr/>
        </p:nvSpPr>
        <p:spPr>
          <a:xfrm>
            <a:off x="603488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3.8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02B071F-F76A-42D2-BD82-9E820BEC8E74}"/>
              </a:ext>
            </a:extLst>
          </p:cNvPr>
          <p:cNvSpPr/>
          <p:nvPr/>
        </p:nvSpPr>
        <p:spPr>
          <a:xfrm>
            <a:off x="4236561" y="5488067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36.5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8EBDFCA-7DB3-4E45-B127-0BC19987D5FE}"/>
              </a:ext>
            </a:extLst>
          </p:cNvPr>
          <p:cNvSpPr/>
          <p:nvPr/>
        </p:nvSpPr>
        <p:spPr>
          <a:xfrm>
            <a:off x="9650571" y="5488067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50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A89206B-39A7-4B8E-BC95-6ECB1667B022}"/>
              </a:ext>
            </a:extLst>
          </p:cNvPr>
          <p:cNvSpPr/>
          <p:nvPr/>
        </p:nvSpPr>
        <p:spPr>
          <a:xfrm>
            <a:off x="6034881" y="5488067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9.4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E762C5D-F834-4168-9348-871B90F2BD00}"/>
              </a:ext>
            </a:extLst>
          </p:cNvPr>
          <p:cNvSpPr txBox="1"/>
          <p:nvPr/>
        </p:nvSpPr>
        <p:spPr>
          <a:xfrm>
            <a:off x="9248839" y="5730677"/>
            <a:ext cx="2532888" cy="86177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1000" i="1" dirty="0"/>
              <a:t>Q1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Jan– 31</a:t>
            </a:r>
            <a:r>
              <a:rPr lang="en-US" sz="1000" i="1" baseline="30000" dirty="0"/>
              <a:t>th</a:t>
            </a:r>
            <a:r>
              <a:rPr lang="en-US" sz="1000" i="1" dirty="0"/>
              <a:t> March (90 days)</a:t>
            </a:r>
          </a:p>
          <a:p>
            <a:r>
              <a:rPr lang="en-US" sz="1000" i="1" dirty="0"/>
              <a:t>Q2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Apr – 30</a:t>
            </a:r>
            <a:r>
              <a:rPr lang="en-US" sz="1000" i="1" baseline="30000" dirty="0"/>
              <a:t>th</a:t>
            </a:r>
            <a:r>
              <a:rPr lang="en-US" sz="1000" i="1" dirty="0"/>
              <a:t> June (90 days)</a:t>
            </a:r>
          </a:p>
          <a:p>
            <a:r>
              <a:rPr lang="en-US" sz="1000" i="1" dirty="0"/>
              <a:t>Q3’2020 – 1st July – 30</a:t>
            </a:r>
            <a:r>
              <a:rPr lang="en-US" sz="1000" i="1" baseline="30000" dirty="0"/>
              <a:t>th</a:t>
            </a:r>
            <a:r>
              <a:rPr lang="en-US" sz="1000" i="1" dirty="0"/>
              <a:t> Sep (91 days)</a:t>
            </a:r>
          </a:p>
          <a:p>
            <a:r>
              <a:rPr lang="en-US" sz="1000" i="1" dirty="0"/>
              <a:t>01-Nov-19 – 30-Apr-20 ( 181 days)</a:t>
            </a:r>
          </a:p>
          <a:p>
            <a:r>
              <a:rPr lang="en-US" sz="1000" i="1" dirty="0"/>
              <a:t>01-May-20 – 30-Oct-20 ( 182 days)</a:t>
            </a:r>
          </a:p>
        </p:txBody>
      </p:sp>
      <p:pic>
        <p:nvPicPr>
          <p:cNvPr id="19" name="Picture 2" descr="Apple Search Ads - Reviews, News and Ratings">
            <a:extLst>
              <a:ext uri="{FF2B5EF4-FFF2-40B4-BE49-F238E27FC236}">
                <a16:creationId xmlns:a16="http://schemas.microsoft.com/office/drawing/2014/main" id="{3BD4D110-A2CE-40A6-885F-44BCC921EE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05" t="8089" r="45122" b="56550"/>
          <a:stretch/>
        </p:blipFill>
        <p:spPr bwMode="auto">
          <a:xfrm>
            <a:off x="124313" y="228600"/>
            <a:ext cx="805962" cy="858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78610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50B61E-C14B-4A4A-A3A7-9FFB5F32A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Non-Social Vide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C455D4-3875-488F-90CB-37785DBEE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15725B7-73BF-4968-979A-EE84B63911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DCD04C-79AD-4297-8E2B-00A506433C23}"/>
              </a:ext>
            </a:extLst>
          </p:cNvPr>
          <p:cNvSpPr txBox="1"/>
          <p:nvPr/>
        </p:nvSpPr>
        <p:spPr>
          <a:xfrm>
            <a:off x="254569" y="6115397"/>
            <a:ext cx="6052456" cy="47705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Note: CPM = Cost per 1,000 Impression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Source: </a:t>
            </a:r>
            <a:r>
              <a:rPr lang="en-US" sz="1000" dirty="0" err="1"/>
              <a:t>Yotta</a:t>
            </a:r>
            <a:r>
              <a:rPr lang="en-US" sz="1000" dirty="0"/>
              <a:t> Gam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18BC6-26EB-40EC-BFC1-BDB7BD874BE2}"/>
              </a:ext>
            </a:extLst>
          </p:cNvPr>
          <p:cNvSpPr txBox="1"/>
          <p:nvPr/>
        </p:nvSpPr>
        <p:spPr>
          <a:xfrm>
            <a:off x="9248839" y="5730677"/>
            <a:ext cx="2532888" cy="86177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1000" i="1" dirty="0"/>
              <a:t>Q1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Jan– 31</a:t>
            </a:r>
            <a:r>
              <a:rPr lang="en-US" sz="1000" i="1" baseline="30000" dirty="0"/>
              <a:t>th</a:t>
            </a:r>
            <a:r>
              <a:rPr lang="en-US" sz="1000" i="1" dirty="0"/>
              <a:t> March (90 days)</a:t>
            </a:r>
          </a:p>
          <a:p>
            <a:r>
              <a:rPr lang="en-US" sz="1000" i="1" dirty="0"/>
              <a:t>Q2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Apr – 30</a:t>
            </a:r>
            <a:r>
              <a:rPr lang="en-US" sz="1000" i="1" baseline="30000" dirty="0"/>
              <a:t>th</a:t>
            </a:r>
            <a:r>
              <a:rPr lang="en-US" sz="1000" i="1" dirty="0"/>
              <a:t> June (90 days)</a:t>
            </a:r>
          </a:p>
          <a:p>
            <a:r>
              <a:rPr lang="en-US" sz="1000" i="1" dirty="0"/>
              <a:t>Q3’2020 – 1st July – 30</a:t>
            </a:r>
            <a:r>
              <a:rPr lang="en-US" sz="1000" i="1" baseline="30000" dirty="0"/>
              <a:t>th</a:t>
            </a:r>
            <a:r>
              <a:rPr lang="en-US" sz="1000" i="1" dirty="0"/>
              <a:t> Sep (91 days)</a:t>
            </a:r>
          </a:p>
          <a:p>
            <a:r>
              <a:rPr lang="en-US" sz="1000" i="1" dirty="0"/>
              <a:t>01-Nov-19 – 30-Apr-20 ( 181 days)</a:t>
            </a:r>
          </a:p>
          <a:p>
            <a:r>
              <a:rPr lang="en-US" sz="1000" i="1" dirty="0"/>
              <a:t>01-May-20 – 30-Oct-20 ( 182 days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AA00F61-B737-40F3-B1E9-E2EED10C7544}"/>
              </a:ext>
            </a:extLst>
          </p:cNvPr>
          <p:cNvGraphicFramePr/>
          <p:nvPr/>
        </p:nvGraphicFramePr>
        <p:xfrm>
          <a:off x="242889" y="1235075"/>
          <a:ext cx="11504612" cy="356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6CCEBB0B-2E44-4D13-92FA-801F1C2D0B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9304209"/>
              </p:ext>
            </p:extLst>
          </p:nvPr>
        </p:nvGraphicFramePr>
        <p:xfrm>
          <a:off x="990599" y="4746625"/>
          <a:ext cx="10756902" cy="9753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792817">
                  <a:extLst>
                    <a:ext uri="{9D8B030D-6E8A-4147-A177-3AD203B41FA5}">
                      <a16:colId xmlns:a16="http://schemas.microsoft.com/office/drawing/2014/main" val="2527033448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44138687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439520298"/>
                    </a:ext>
                  </a:extLst>
                </a:gridCol>
              </a:tblGrid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Non-Social Video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+mn-lt"/>
                        </a:rPr>
                        <a:t>Q1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+mn-lt"/>
                        </a:rPr>
                        <a:t>Q2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+mn-lt"/>
                        </a:rPr>
                        <a:t>Q3’2020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 19 – APR 20</a:t>
                      </a:r>
                    </a:p>
                  </a:txBody>
                  <a:tcPr marL="9335" marR="9335" marT="93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 20 – OCT 20</a:t>
                      </a:r>
                    </a:p>
                  </a:txBody>
                  <a:tcPr marL="9335" marR="9335" marT="933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Impressions(in MM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06056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Spend(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</a:t>
                      </a:r>
                      <a:endParaRPr lang="en-I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8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975 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</a:t>
                      </a:r>
                      <a:endParaRPr lang="en-IN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385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267397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CPM (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405432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E569D88-1683-4BA0-8A72-B4239CB67B45}"/>
              </a:ext>
            </a:extLst>
          </p:cNvPr>
          <p:cNvSpPr/>
          <p:nvPr/>
        </p:nvSpPr>
        <p:spPr>
          <a:xfrm>
            <a:off x="423656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-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0347C2B-B98F-4827-BAFE-A691A999A61E}"/>
              </a:ext>
            </a:extLst>
          </p:cNvPr>
          <p:cNvSpPr/>
          <p:nvPr/>
        </p:nvSpPr>
        <p:spPr>
          <a:xfrm>
            <a:off x="965057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++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266AB5F-6888-4DC1-919E-6C7C8C654AE3}"/>
              </a:ext>
            </a:extLst>
          </p:cNvPr>
          <p:cNvSpPr/>
          <p:nvPr/>
        </p:nvSpPr>
        <p:spPr>
          <a:xfrm>
            <a:off x="603488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497.3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D63F4E9-6610-4601-8729-5ABA728DC2C7}"/>
              </a:ext>
            </a:extLst>
          </p:cNvPr>
          <p:cNvSpPr/>
          <p:nvPr/>
        </p:nvSpPr>
        <p:spPr>
          <a:xfrm>
            <a:off x="423656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-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CDADC61-8309-4225-982C-6444A60C07C0}"/>
              </a:ext>
            </a:extLst>
          </p:cNvPr>
          <p:cNvSpPr/>
          <p:nvPr/>
        </p:nvSpPr>
        <p:spPr>
          <a:xfrm>
            <a:off x="965057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++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AED51D4-AE85-41C1-BFC7-8BCDB23FB42B}"/>
              </a:ext>
            </a:extLst>
          </p:cNvPr>
          <p:cNvSpPr/>
          <p:nvPr/>
        </p:nvSpPr>
        <p:spPr>
          <a:xfrm>
            <a:off x="603488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,907.6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02B071F-F76A-42D2-BD82-9E820BEC8E74}"/>
              </a:ext>
            </a:extLst>
          </p:cNvPr>
          <p:cNvSpPr/>
          <p:nvPr/>
        </p:nvSpPr>
        <p:spPr>
          <a:xfrm>
            <a:off x="4236561" y="5488067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-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8EBDFCA-7DB3-4E45-B127-0BC19987D5FE}"/>
              </a:ext>
            </a:extLst>
          </p:cNvPr>
          <p:cNvSpPr/>
          <p:nvPr/>
        </p:nvSpPr>
        <p:spPr>
          <a:xfrm>
            <a:off x="9650571" y="5488067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++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A89206B-39A7-4B8E-BC95-6ECB1667B022}"/>
              </a:ext>
            </a:extLst>
          </p:cNvPr>
          <p:cNvSpPr/>
          <p:nvPr/>
        </p:nvSpPr>
        <p:spPr>
          <a:xfrm>
            <a:off x="6034881" y="5488067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236.1%</a:t>
            </a:r>
            <a:endParaRPr lang="en-IN" sz="1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5909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22AFC4-14C1-4762-BE4F-4386589EEE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Digital Summ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CBAD34-0E24-44DE-946F-0B04AC694B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6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8119B3-2C03-422B-A996-F8E0D3D46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31E75C41-33D0-48E6-8C57-9C911E0F6086}"/>
              </a:ext>
            </a:extLst>
          </p:cNvPr>
          <p:cNvGraphicFramePr>
            <a:graphicFrameLocks noGrp="1"/>
          </p:cNvGraphicFramePr>
          <p:nvPr/>
        </p:nvGraphicFramePr>
        <p:xfrm>
          <a:off x="240480" y="1095375"/>
          <a:ext cx="11508610" cy="5229225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606030">
                  <a:extLst>
                    <a:ext uri="{9D8B030D-6E8A-4147-A177-3AD203B41FA5}">
                      <a16:colId xmlns:a16="http://schemas.microsoft.com/office/drawing/2014/main" val="1578702879"/>
                    </a:ext>
                  </a:extLst>
                </a:gridCol>
                <a:gridCol w="1975645">
                  <a:extLst>
                    <a:ext uri="{9D8B030D-6E8A-4147-A177-3AD203B41FA5}">
                      <a16:colId xmlns:a16="http://schemas.microsoft.com/office/drawing/2014/main" val="978670993"/>
                    </a:ext>
                  </a:extLst>
                </a:gridCol>
                <a:gridCol w="1975645">
                  <a:extLst>
                    <a:ext uri="{9D8B030D-6E8A-4147-A177-3AD203B41FA5}">
                      <a16:colId xmlns:a16="http://schemas.microsoft.com/office/drawing/2014/main" val="1339298049"/>
                    </a:ext>
                  </a:extLst>
                </a:gridCol>
                <a:gridCol w="1975645">
                  <a:extLst>
                    <a:ext uri="{9D8B030D-6E8A-4147-A177-3AD203B41FA5}">
                      <a16:colId xmlns:a16="http://schemas.microsoft.com/office/drawing/2014/main" val="2910199067"/>
                    </a:ext>
                  </a:extLst>
                </a:gridCol>
                <a:gridCol w="1975645">
                  <a:extLst>
                    <a:ext uri="{9D8B030D-6E8A-4147-A177-3AD203B41FA5}">
                      <a16:colId xmlns:a16="http://schemas.microsoft.com/office/drawing/2014/main" val="4247060600"/>
                    </a:ext>
                  </a:extLst>
                </a:gridCol>
              </a:tblGrid>
              <a:tr h="581025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n-lt"/>
                        </a:rPr>
                        <a:t>Med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n-lt"/>
                        </a:rPr>
                        <a:t>Spends (MM USD)</a:t>
                      </a:r>
                      <a:endParaRPr lang="en-IN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n-lt"/>
                        </a:rPr>
                        <a:t>Impressions(MM)</a:t>
                      </a:r>
                      <a:endParaRPr lang="en-IN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n-lt"/>
                        </a:rPr>
                        <a:t>CPM</a:t>
                      </a:r>
                      <a:endParaRPr lang="en-IN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n-lt"/>
                        </a:rPr>
                        <a:t>Spend Share</a:t>
                      </a:r>
                      <a:endParaRPr lang="en-IN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6720801"/>
                  </a:ext>
                </a:extLst>
              </a:tr>
              <a:tr h="58102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splay Networ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9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4927547"/>
                  </a:ext>
                </a:extLst>
              </a:tr>
              <a:tr h="58102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ceboo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4562557"/>
                  </a:ext>
                </a:extLst>
              </a:tr>
              <a:tr h="58102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ouTub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7506274"/>
                  </a:ext>
                </a:extLst>
              </a:tr>
              <a:tr h="58102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-Social Display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4000401"/>
                  </a:ext>
                </a:extLst>
              </a:tr>
              <a:tr h="58102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oogle Sear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5934329"/>
                  </a:ext>
                </a:extLst>
              </a:tr>
              <a:tr h="58102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pple Sear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0429540"/>
                  </a:ext>
                </a:extLst>
              </a:tr>
              <a:tr h="58102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-Social Vide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481578"/>
                  </a:ext>
                </a:extLst>
              </a:tr>
              <a:tr h="58102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 Media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6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.3</a:t>
                      </a:r>
                      <a:endParaRPr lang="en-IN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lang="en-IN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38552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EEC6639-2D12-45D6-A12B-D3FEED930EC9}"/>
              </a:ext>
            </a:extLst>
          </p:cNvPr>
          <p:cNvSpPr txBox="1"/>
          <p:nvPr/>
        </p:nvSpPr>
        <p:spPr>
          <a:xfrm>
            <a:off x="254569" y="6346230"/>
            <a:ext cx="605245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Note: CPM = Cost per 1,000 Impress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1FE81D-0A99-4842-8767-657380DBB3F1}"/>
              </a:ext>
            </a:extLst>
          </p:cNvPr>
          <p:cNvSpPr txBox="1"/>
          <p:nvPr/>
        </p:nvSpPr>
        <p:spPr>
          <a:xfrm>
            <a:off x="8821625" y="6324600"/>
            <a:ext cx="605245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Note: Spending based on Total modeling period</a:t>
            </a:r>
          </a:p>
        </p:txBody>
      </p:sp>
    </p:spTree>
    <p:extLst>
      <p:ext uri="{BB962C8B-B14F-4D97-AF65-F5344CB8AC3E}">
        <p14:creationId xmlns:p14="http://schemas.microsoft.com/office/powerpoint/2010/main" val="16034480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FFA7B0-B3F8-4715-80C5-D0BCE5408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7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3B7CC7-3EF4-4A9D-B97F-77BBC74D5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9FAAC6-E14C-4FE6-9ADB-91671C060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47054646-5DB8-4994-B441-D8C593466F06}"/>
              </a:ext>
            </a:extLst>
          </p:cNvPr>
          <p:cNvSpPr txBox="1">
            <a:spLocks/>
          </p:cNvSpPr>
          <p:nvPr/>
        </p:nvSpPr>
        <p:spPr>
          <a:xfrm>
            <a:off x="-1" y="0"/>
            <a:ext cx="12069763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4400" dirty="0"/>
              <a:t>Competitor Games</a:t>
            </a:r>
            <a:endParaRPr lang="en-IN" sz="4400" dirty="0"/>
          </a:p>
        </p:txBody>
      </p:sp>
    </p:spTree>
    <p:extLst>
      <p:ext uri="{BB962C8B-B14F-4D97-AF65-F5344CB8AC3E}">
        <p14:creationId xmlns:p14="http://schemas.microsoft.com/office/powerpoint/2010/main" val="4396371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AA449-04C4-4791-9AF4-D540B7BBB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etitors Revenue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48E9C5-8E2C-4413-B467-DFCC716F84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8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1DAEAD-9804-41A9-9F0D-7CEBD20D5D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D7C33F-D9AD-430F-B970-8507884B06DD}"/>
              </a:ext>
            </a:extLst>
          </p:cNvPr>
          <p:cNvSpPr txBox="1"/>
          <p:nvPr/>
        </p:nvSpPr>
        <p:spPr>
          <a:xfrm>
            <a:off x="254569" y="6192341"/>
            <a:ext cx="6052456" cy="400110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1000" dirty="0"/>
              <a:t>Source:  ROE and KOA revenue data received from </a:t>
            </a:r>
            <a:r>
              <a:rPr lang="en-IN" sz="1000" dirty="0" err="1"/>
              <a:t>Youta</a:t>
            </a:r>
            <a:r>
              <a:rPr lang="en-IN" sz="1000" dirty="0"/>
              <a:t> Games while ROK and SOS revenue downloaded from reflection website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6527CC5C-A017-4E8D-B9C3-6CF6E32949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5813344"/>
              </p:ext>
            </p:extLst>
          </p:nvPr>
        </p:nvGraphicFramePr>
        <p:xfrm>
          <a:off x="243681" y="762000"/>
          <a:ext cx="11504612" cy="356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Table 5">
            <a:extLst>
              <a:ext uri="{FF2B5EF4-FFF2-40B4-BE49-F238E27FC236}">
                <a16:creationId xmlns:a16="http://schemas.microsoft.com/office/drawing/2014/main" id="{ACC7159C-815A-41C2-A946-40460BE567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916725"/>
              </p:ext>
            </p:extLst>
          </p:nvPr>
        </p:nvGraphicFramePr>
        <p:xfrm>
          <a:off x="990599" y="4303510"/>
          <a:ext cx="10756902" cy="1487688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996282">
                  <a:extLst>
                    <a:ext uri="{9D8B030D-6E8A-4147-A177-3AD203B41FA5}">
                      <a16:colId xmlns:a16="http://schemas.microsoft.com/office/drawing/2014/main" val="2527033448"/>
                    </a:ext>
                  </a:extLst>
                </a:gridCol>
                <a:gridCol w="1589352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44138687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439520298"/>
                    </a:ext>
                  </a:extLst>
                </a:gridCol>
              </a:tblGrid>
              <a:tr h="247948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Rise Of Empires</a:t>
                      </a:r>
                      <a:endParaRPr lang="en-IN" sz="10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1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2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3’2020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 19 – APR 20</a:t>
                      </a:r>
                    </a:p>
                  </a:txBody>
                  <a:tcPr marL="9335" marR="9335" marT="93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 20 – OCT 20</a:t>
                      </a:r>
                    </a:p>
                  </a:txBody>
                  <a:tcPr marL="9335" marR="9335" marT="933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247948">
                <a:tc>
                  <a:txBody>
                    <a:bodyPr/>
                    <a:lstStyle/>
                    <a:p>
                      <a:pPr algn="l"/>
                      <a:r>
                        <a:rPr lang="en-GB" sz="1000" dirty="0">
                          <a:latin typeface="+mn-lt"/>
                        </a:rPr>
                        <a:t>Chief Almighty Revenue(MM 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 marL="0" marR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1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8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9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9405432"/>
                  </a:ext>
                </a:extLst>
              </a:tr>
              <a:tr h="247948">
                <a:tc>
                  <a:txBody>
                    <a:bodyPr/>
                    <a:lstStyle/>
                    <a:p>
                      <a:pPr algn="l"/>
                      <a:r>
                        <a:rPr lang="en-GB" sz="1000" dirty="0">
                          <a:latin typeface="+mn-lt"/>
                        </a:rPr>
                        <a:t>King Of Avalon Revenue(MM 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 marL="0" marR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81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2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835040"/>
                  </a:ext>
                </a:extLst>
              </a:tr>
              <a:tr h="247948">
                <a:tc>
                  <a:txBody>
                    <a:bodyPr/>
                    <a:lstStyle/>
                    <a:p>
                      <a:pPr algn="l"/>
                      <a:r>
                        <a:rPr lang="en-GB" sz="1000" dirty="0">
                          <a:latin typeface="+mn-lt"/>
                        </a:rPr>
                        <a:t>Rise Of Kingdoms Revenue(MM 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 marL="0" marR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2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6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4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1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4086723"/>
                  </a:ext>
                </a:extLst>
              </a:tr>
              <a:tr h="247948">
                <a:tc>
                  <a:txBody>
                    <a:bodyPr/>
                    <a:lstStyle/>
                    <a:p>
                      <a:pPr algn="l"/>
                      <a:r>
                        <a:rPr lang="en-GB" sz="1000" dirty="0">
                          <a:latin typeface="+mn-lt"/>
                        </a:rPr>
                        <a:t>State Of Survival Revenue(MM 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 marL="0" marR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3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3567923"/>
                  </a:ext>
                </a:extLst>
              </a:tr>
              <a:tr h="247948">
                <a:tc>
                  <a:txBody>
                    <a:bodyPr/>
                    <a:lstStyle/>
                    <a:p>
                      <a:pPr algn="l"/>
                      <a:r>
                        <a:rPr lang="en-GB" sz="1000" dirty="0">
                          <a:latin typeface="+mn-lt"/>
                        </a:rPr>
                        <a:t>Rise Of Empires Revenue(MM 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 marL="0" marR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4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790001"/>
                  </a:ext>
                </a:extLst>
              </a:tr>
            </a:tbl>
          </a:graphicData>
        </a:graphic>
      </p:graphicFrame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D2469A5-5FFD-4092-8574-D577471512AC}"/>
              </a:ext>
            </a:extLst>
          </p:cNvPr>
          <p:cNvSpPr/>
          <p:nvPr/>
        </p:nvSpPr>
        <p:spPr>
          <a:xfrm>
            <a:off x="4236561" y="4587905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06.8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8CC94C49-DA89-4D58-9ED2-A4A26DF2D4EF}"/>
              </a:ext>
            </a:extLst>
          </p:cNvPr>
          <p:cNvSpPr/>
          <p:nvPr/>
        </p:nvSpPr>
        <p:spPr>
          <a:xfrm>
            <a:off x="9650571" y="4587905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27.6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AA18B8DB-30C7-4263-8EA9-E34C684F0FCB}"/>
              </a:ext>
            </a:extLst>
          </p:cNvPr>
          <p:cNvSpPr/>
          <p:nvPr/>
        </p:nvSpPr>
        <p:spPr>
          <a:xfrm>
            <a:off x="6034881" y="4587905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6.6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83B74EB-9059-4F48-BEBE-644F76A8922F}"/>
              </a:ext>
            </a:extLst>
          </p:cNvPr>
          <p:cNvSpPr txBox="1"/>
          <p:nvPr/>
        </p:nvSpPr>
        <p:spPr>
          <a:xfrm>
            <a:off x="9248839" y="5730677"/>
            <a:ext cx="2532888" cy="86177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1000" i="1" dirty="0"/>
              <a:t>Q1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Jan– 31</a:t>
            </a:r>
            <a:r>
              <a:rPr lang="en-US" sz="1000" i="1" baseline="30000" dirty="0"/>
              <a:t>th</a:t>
            </a:r>
            <a:r>
              <a:rPr lang="en-US" sz="1000" i="1" dirty="0"/>
              <a:t> March (90 days)</a:t>
            </a:r>
          </a:p>
          <a:p>
            <a:r>
              <a:rPr lang="en-US" sz="1000" i="1" dirty="0"/>
              <a:t>Q2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Apr – 30</a:t>
            </a:r>
            <a:r>
              <a:rPr lang="en-US" sz="1000" i="1" baseline="30000" dirty="0"/>
              <a:t>th</a:t>
            </a:r>
            <a:r>
              <a:rPr lang="en-US" sz="1000" i="1" dirty="0"/>
              <a:t> June (90 days)</a:t>
            </a:r>
          </a:p>
          <a:p>
            <a:r>
              <a:rPr lang="en-US" sz="1000" i="1" dirty="0"/>
              <a:t>Q3’2020 – 1st July – 30</a:t>
            </a:r>
            <a:r>
              <a:rPr lang="en-US" sz="1000" i="1" baseline="30000" dirty="0"/>
              <a:t>th</a:t>
            </a:r>
            <a:r>
              <a:rPr lang="en-US" sz="1000" i="1" dirty="0"/>
              <a:t> Sep (91 days)</a:t>
            </a:r>
          </a:p>
          <a:p>
            <a:r>
              <a:rPr lang="en-US" sz="1000" i="1" dirty="0"/>
              <a:t>01-Nov-19 – 30-Apr-20 ( 181 days)</a:t>
            </a:r>
          </a:p>
          <a:p>
            <a:r>
              <a:rPr lang="en-US" sz="1000" i="1" dirty="0"/>
              <a:t>01-May-20 – 30-Oct-20 ( 182 days)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C864F90-463F-4930-ADAD-721E80F6DDD1}"/>
              </a:ext>
            </a:extLst>
          </p:cNvPr>
          <p:cNvSpPr/>
          <p:nvPr/>
        </p:nvSpPr>
        <p:spPr>
          <a:xfrm>
            <a:off x="4236561" y="4829142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28.5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430DCE3-A3E9-4818-A4F3-136B2F426250}"/>
              </a:ext>
            </a:extLst>
          </p:cNvPr>
          <p:cNvSpPr/>
          <p:nvPr/>
        </p:nvSpPr>
        <p:spPr>
          <a:xfrm>
            <a:off x="9650571" y="4829142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35.5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7A16835-A476-4DD3-8FF5-28E64392B791}"/>
              </a:ext>
            </a:extLst>
          </p:cNvPr>
          <p:cNvSpPr/>
          <p:nvPr/>
        </p:nvSpPr>
        <p:spPr>
          <a:xfrm>
            <a:off x="6034881" y="4829142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7.3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D19C6B1-94F1-4CE3-A6FA-A4F372336921}"/>
              </a:ext>
            </a:extLst>
          </p:cNvPr>
          <p:cNvSpPr/>
          <p:nvPr/>
        </p:nvSpPr>
        <p:spPr>
          <a:xfrm>
            <a:off x="4236561" y="5094182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26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EFFD9B4C-43C8-49DB-8D01-AAFDC08A6C12}"/>
              </a:ext>
            </a:extLst>
          </p:cNvPr>
          <p:cNvSpPr/>
          <p:nvPr/>
        </p:nvSpPr>
        <p:spPr>
          <a:xfrm>
            <a:off x="9650571" y="5094182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34.0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025FD87-A87B-404D-A423-E54C9D1B8A12}"/>
              </a:ext>
            </a:extLst>
          </p:cNvPr>
          <p:cNvSpPr/>
          <p:nvPr/>
        </p:nvSpPr>
        <p:spPr>
          <a:xfrm>
            <a:off x="6034881" y="5094182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1.30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1BC852B6-7782-417D-B8EF-2A9DE28444CB}"/>
              </a:ext>
            </a:extLst>
          </p:cNvPr>
          <p:cNvSpPr/>
          <p:nvPr/>
        </p:nvSpPr>
        <p:spPr>
          <a:xfrm>
            <a:off x="4236561" y="5345970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6.9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8B005452-3CC6-4CE4-A4B1-068AECF3680A}"/>
              </a:ext>
            </a:extLst>
          </p:cNvPr>
          <p:cNvSpPr/>
          <p:nvPr/>
        </p:nvSpPr>
        <p:spPr>
          <a:xfrm>
            <a:off x="9650571" y="5345970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80.3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A4EC39E0-C86C-4317-B45F-1FE8D4D836EC}"/>
              </a:ext>
            </a:extLst>
          </p:cNvPr>
          <p:cNvSpPr/>
          <p:nvPr/>
        </p:nvSpPr>
        <p:spPr>
          <a:xfrm>
            <a:off x="6034881" y="5345970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57.6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2118EDFA-7887-4720-90C8-6CA671D07FF1}"/>
              </a:ext>
            </a:extLst>
          </p:cNvPr>
          <p:cNvSpPr/>
          <p:nvPr/>
        </p:nvSpPr>
        <p:spPr>
          <a:xfrm>
            <a:off x="4236561" y="5584509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64.1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3BB0AEED-512B-4574-99B3-33385A09501E}"/>
              </a:ext>
            </a:extLst>
          </p:cNvPr>
          <p:cNvSpPr/>
          <p:nvPr/>
        </p:nvSpPr>
        <p:spPr>
          <a:xfrm>
            <a:off x="9650571" y="5584509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56.0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A5BCD70F-108F-403A-B1C4-875DEE039413}"/>
              </a:ext>
            </a:extLst>
          </p:cNvPr>
          <p:cNvSpPr/>
          <p:nvPr/>
        </p:nvSpPr>
        <p:spPr>
          <a:xfrm>
            <a:off x="6034881" y="5584509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68.6%</a:t>
            </a:r>
            <a:endParaRPr lang="en-IN" sz="1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1068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FFA7B0-B3F8-4715-80C5-D0BCE5408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19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3B7CC7-3EF4-4A9D-B97F-77BBC74D5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9FAAC6-E14C-4FE6-9ADB-91671C060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47054646-5DB8-4994-B441-D8C593466F06}"/>
              </a:ext>
            </a:extLst>
          </p:cNvPr>
          <p:cNvSpPr txBox="1">
            <a:spLocks/>
          </p:cNvSpPr>
          <p:nvPr/>
        </p:nvSpPr>
        <p:spPr>
          <a:xfrm>
            <a:off x="-1" y="0"/>
            <a:ext cx="12069763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4400" dirty="0"/>
              <a:t>Game Update</a:t>
            </a:r>
            <a:endParaRPr lang="en-IN" sz="4400" dirty="0"/>
          </a:p>
        </p:txBody>
      </p:sp>
    </p:spTree>
    <p:extLst>
      <p:ext uri="{BB962C8B-B14F-4D97-AF65-F5344CB8AC3E}">
        <p14:creationId xmlns:p14="http://schemas.microsoft.com/office/powerpoint/2010/main" val="8455402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84B6E4-8964-4740-9C04-FE2BC8591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roject Scop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7477C8-7C3E-48F7-AEC1-68BAEC72FD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574F933-70D5-4754-86E5-23D9FB4953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Rounded Rectangle 9">
            <a:extLst>
              <a:ext uri="{FF2B5EF4-FFF2-40B4-BE49-F238E27FC236}">
                <a16:creationId xmlns:a16="http://schemas.microsoft.com/office/drawing/2014/main" id="{7138F239-E902-48B8-B50A-C2FF0B26A119}"/>
              </a:ext>
            </a:extLst>
          </p:cNvPr>
          <p:cNvSpPr/>
          <p:nvPr/>
        </p:nvSpPr>
        <p:spPr>
          <a:xfrm>
            <a:off x="254833" y="1235075"/>
            <a:ext cx="1528885" cy="41955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racteristics</a:t>
            </a:r>
          </a:p>
        </p:txBody>
      </p:sp>
      <p:sp>
        <p:nvSpPr>
          <p:cNvPr id="8" name="Rounded Rectangle 10">
            <a:extLst>
              <a:ext uri="{FF2B5EF4-FFF2-40B4-BE49-F238E27FC236}">
                <a16:creationId xmlns:a16="http://schemas.microsoft.com/office/drawing/2014/main" id="{E018612D-1EA1-4C8E-90B1-4AFD6E60A11D}"/>
              </a:ext>
            </a:extLst>
          </p:cNvPr>
          <p:cNvSpPr/>
          <p:nvPr/>
        </p:nvSpPr>
        <p:spPr>
          <a:xfrm>
            <a:off x="1856655" y="1235074"/>
            <a:ext cx="9898960" cy="41955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tails</a:t>
            </a:r>
          </a:p>
        </p:txBody>
      </p:sp>
      <p:sp>
        <p:nvSpPr>
          <p:cNvPr id="6" name="Rounded Rectangle 7">
            <a:extLst>
              <a:ext uri="{FF2B5EF4-FFF2-40B4-BE49-F238E27FC236}">
                <a16:creationId xmlns:a16="http://schemas.microsoft.com/office/drawing/2014/main" id="{AC6E4299-59C6-4398-8C6B-016C2825B67C}"/>
              </a:ext>
            </a:extLst>
          </p:cNvPr>
          <p:cNvSpPr/>
          <p:nvPr/>
        </p:nvSpPr>
        <p:spPr>
          <a:xfrm>
            <a:off x="254833" y="1741715"/>
            <a:ext cx="1528885" cy="583876"/>
          </a:xfrm>
          <a:prstGeom prst="roundRect">
            <a:avLst/>
          </a:prstGeom>
          <a:solidFill>
            <a:srgbClr val="D5E1EF"/>
          </a:solidFill>
          <a:ln w="9525">
            <a:solidFill>
              <a:srgbClr val="D5E1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tx1"/>
                </a:solidFill>
                <a:latin typeface="Calibri"/>
              </a:rPr>
              <a:t>Gam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ounded Rectangle 11">
            <a:extLst>
              <a:ext uri="{FF2B5EF4-FFF2-40B4-BE49-F238E27FC236}">
                <a16:creationId xmlns:a16="http://schemas.microsoft.com/office/drawing/2014/main" id="{54455CB9-EB01-416E-9059-F6D287B58E37}"/>
              </a:ext>
            </a:extLst>
          </p:cNvPr>
          <p:cNvSpPr/>
          <p:nvPr/>
        </p:nvSpPr>
        <p:spPr>
          <a:xfrm>
            <a:off x="254833" y="2398816"/>
            <a:ext cx="1528885" cy="583876"/>
          </a:xfrm>
          <a:prstGeom prst="roundRect">
            <a:avLst/>
          </a:prstGeom>
          <a:solidFill>
            <a:srgbClr val="D5E1EF"/>
          </a:solidFill>
          <a:ln w="9525">
            <a:solidFill>
              <a:srgbClr val="D5E1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</a:t>
            </a:r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4A39A46C-CCD3-4411-8048-D5B8F888CA77}"/>
              </a:ext>
            </a:extLst>
          </p:cNvPr>
          <p:cNvSpPr/>
          <p:nvPr/>
        </p:nvSpPr>
        <p:spPr>
          <a:xfrm>
            <a:off x="254833" y="3055918"/>
            <a:ext cx="1528885" cy="583876"/>
          </a:xfrm>
          <a:prstGeom prst="roundRect">
            <a:avLst/>
          </a:prstGeom>
          <a:solidFill>
            <a:srgbClr val="D5E1EF"/>
          </a:solidFill>
          <a:ln w="9525">
            <a:solidFill>
              <a:srgbClr val="D5E1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ket Breakdown</a:t>
            </a:r>
          </a:p>
        </p:txBody>
      </p:sp>
      <p:sp>
        <p:nvSpPr>
          <p:cNvPr id="11" name="Rounded Rectangle 22">
            <a:extLst>
              <a:ext uri="{FF2B5EF4-FFF2-40B4-BE49-F238E27FC236}">
                <a16:creationId xmlns:a16="http://schemas.microsoft.com/office/drawing/2014/main" id="{B1D4371A-DD9A-45BA-BECB-A17225B0BE27}"/>
              </a:ext>
            </a:extLst>
          </p:cNvPr>
          <p:cNvSpPr/>
          <p:nvPr/>
        </p:nvSpPr>
        <p:spPr>
          <a:xfrm>
            <a:off x="254833" y="3713019"/>
            <a:ext cx="1528885" cy="583876"/>
          </a:xfrm>
          <a:prstGeom prst="roundRect">
            <a:avLst/>
          </a:prstGeom>
          <a:solidFill>
            <a:srgbClr val="D5E1EF"/>
          </a:solidFill>
          <a:ln w="9525">
            <a:solidFill>
              <a:srgbClr val="D5E1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 Period</a:t>
            </a:r>
          </a:p>
        </p:txBody>
      </p:sp>
      <p:sp>
        <p:nvSpPr>
          <p:cNvPr id="12" name="Rounded Rectangle 27">
            <a:extLst>
              <a:ext uri="{FF2B5EF4-FFF2-40B4-BE49-F238E27FC236}">
                <a16:creationId xmlns:a16="http://schemas.microsoft.com/office/drawing/2014/main" id="{19393787-2A2B-4E9A-A78E-A988638C7D1F}"/>
              </a:ext>
            </a:extLst>
          </p:cNvPr>
          <p:cNvSpPr/>
          <p:nvPr/>
        </p:nvSpPr>
        <p:spPr>
          <a:xfrm>
            <a:off x="254833" y="4370120"/>
            <a:ext cx="1528885" cy="583876"/>
          </a:xfrm>
          <a:prstGeom prst="roundRect">
            <a:avLst/>
          </a:prstGeom>
          <a:solidFill>
            <a:srgbClr val="D5E1EF"/>
          </a:solidFill>
          <a:ln w="9525">
            <a:solidFill>
              <a:srgbClr val="D5E1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pendent Variable</a:t>
            </a:r>
          </a:p>
        </p:txBody>
      </p:sp>
      <p:sp>
        <p:nvSpPr>
          <p:cNvPr id="13" name="Rounded Rectangle 30">
            <a:extLst>
              <a:ext uri="{FF2B5EF4-FFF2-40B4-BE49-F238E27FC236}">
                <a16:creationId xmlns:a16="http://schemas.microsoft.com/office/drawing/2014/main" id="{7CEE02AA-60A2-4E62-8B71-47A06E8B0442}"/>
              </a:ext>
            </a:extLst>
          </p:cNvPr>
          <p:cNvSpPr/>
          <p:nvPr/>
        </p:nvSpPr>
        <p:spPr>
          <a:xfrm>
            <a:off x="254833" y="5027222"/>
            <a:ext cx="1528885" cy="583876"/>
          </a:xfrm>
          <a:prstGeom prst="roundRect">
            <a:avLst/>
          </a:prstGeom>
          <a:solidFill>
            <a:srgbClr val="D5E1EF"/>
          </a:solidFill>
          <a:ln w="9525">
            <a:solidFill>
              <a:srgbClr val="D5E1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ependent Variables</a:t>
            </a:r>
          </a:p>
        </p:txBody>
      </p:sp>
      <p:sp>
        <p:nvSpPr>
          <p:cNvPr id="15" name="Rounded Rectangle 8">
            <a:extLst>
              <a:ext uri="{FF2B5EF4-FFF2-40B4-BE49-F238E27FC236}">
                <a16:creationId xmlns:a16="http://schemas.microsoft.com/office/drawing/2014/main" id="{BFEFA67D-03DD-49F2-A3B4-42B40FE58166}"/>
              </a:ext>
            </a:extLst>
          </p:cNvPr>
          <p:cNvSpPr/>
          <p:nvPr/>
        </p:nvSpPr>
        <p:spPr>
          <a:xfrm>
            <a:off x="1856655" y="1741714"/>
            <a:ext cx="9921240" cy="583876"/>
          </a:xfrm>
          <a:prstGeom prst="roundRect">
            <a:avLst/>
          </a:prstGeom>
          <a:solidFill>
            <a:srgbClr val="EDF2F8"/>
          </a:solidFill>
          <a:ln w="9525">
            <a:solidFill>
              <a:srgbClr val="EDF2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Calibri"/>
              </a:rPr>
              <a:t>Chief Almighty (Strategy Game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ounded Rectangle 12">
            <a:extLst>
              <a:ext uri="{FF2B5EF4-FFF2-40B4-BE49-F238E27FC236}">
                <a16:creationId xmlns:a16="http://schemas.microsoft.com/office/drawing/2014/main" id="{E3BFB37D-D826-4B88-BCB2-07B33FB5FA95}"/>
              </a:ext>
            </a:extLst>
          </p:cNvPr>
          <p:cNvSpPr/>
          <p:nvPr/>
        </p:nvSpPr>
        <p:spPr>
          <a:xfrm>
            <a:off x="1856655" y="2398815"/>
            <a:ext cx="9921240" cy="583876"/>
          </a:xfrm>
          <a:prstGeom prst="roundRect">
            <a:avLst/>
          </a:prstGeom>
          <a:solidFill>
            <a:srgbClr val="EDF2F8"/>
          </a:solidFill>
          <a:ln w="9525">
            <a:solidFill>
              <a:srgbClr val="EDF2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ily</a:t>
            </a:r>
          </a:p>
        </p:txBody>
      </p:sp>
      <p:sp>
        <p:nvSpPr>
          <p:cNvPr id="17" name="Rounded Rectangle 14">
            <a:extLst>
              <a:ext uri="{FF2B5EF4-FFF2-40B4-BE49-F238E27FC236}">
                <a16:creationId xmlns:a16="http://schemas.microsoft.com/office/drawing/2014/main" id="{B4A6888B-AD99-45B9-A5C9-39AD8FB5138B}"/>
              </a:ext>
            </a:extLst>
          </p:cNvPr>
          <p:cNvSpPr/>
          <p:nvPr/>
        </p:nvSpPr>
        <p:spPr>
          <a:xfrm>
            <a:off x="1856655" y="3055917"/>
            <a:ext cx="9921240" cy="583876"/>
          </a:xfrm>
          <a:prstGeom prst="roundRect">
            <a:avLst/>
          </a:prstGeom>
          <a:solidFill>
            <a:srgbClr val="EDF2F8"/>
          </a:solidFill>
          <a:ln w="9525">
            <a:solidFill>
              <a:srgbClr val="EDF2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-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tal </a:t>
            </a:r>
            <a:r>
              <a:rPr lang="en-US" sz="1200" dirty="0">
                <a:solidFill>
                  <a:prstClr val="black"/>
                </a:solidFill>
                <a:latin typeface="Calibri"/>
              </a:rPr>
              <a:t>US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ounded Rectangle 28">
            <a:extLst>
              <a:ext uri="{FF2B5EF4-FFF2-40B4-BE49-F238E27FC236}">
                <a16:creationId xmlns:a16="http://schemas.microsoft.com/office/drawing/2014/main" id="{69ED5F26-50C1-4EB4-9C8C-CA74D9C33C5F}"/>
              </a:ext>
            </a:extLst>
          </p:cNvPr>
          <p:cNvSpPr/>
          <p:nvPr/>
        </p:nvSpPr>
        <p:spPr>
          <a:xfrm>
            <a:off x="1856655" y="4370119"/>
            <a:ext cx="9921240" cy="583876"/>
          </a:xfrm>
          <a:prstGeom prst="roundRect">
            <a:avLst/>
          </a:prstGeom>
          <a:solidFill>
            <a:srgbClr val="EDF2F8"/>
          </a:solidFill>
          <a:ln w="9525">
            <a:solidFill>
              <a:srgbClr val="EDF2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Calibri"/>
              </a:rPr>
              <a:t>Revenu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ounded Rectangle 31">
            <a:extLst>
              <a:ext uri="{FF2B5EF4-FFF2-40B4-BE49-F238E27FC236}">
                <a16:creationId xmlns:a16="http://schemas.microsoft.com/office/drawing/2014/main" id="{A1F15A0A-ACA8-4062-9B14-3DB5E49628DC}"/>
              </a:ext>
            </a:extLst>
          </p:cNvPr>
          <p:cNvSpPr/>
          <p:nvPr/>
        </p:nvSpPr>
        <p:spPr>
          <a:xfrm>
            <a:off x="1856655" y="5027221"/>
            <a:ext cx="9921240" cy="583876"/>
          </a:xfrm>
          <a:prstGeom prst="roundRect">
            <a:avLst/>
          </a:prstGeom>
          <a:solidFill>
            <a:srgbClr val="EDF2F8"/>
          </a:solidFill>
          <a:ln w="9525">
            <a:solidFill>
              <a:srgbClr val="EDF2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2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a:</a:t>
            </a:r>
            <a:r>
              <a:rPr kumimoji="0" lang="en-US" sz="1200" b="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YouTube, Display Network, Search(Google), Search (Apple), Non-Social Display, Non-Social Video, Facebook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u="sng" dirty="0">
                <a:solidFill>
                  <a:prstClr val="black"/>
                </a:solidFill>
                <a:latin typeface="Calibri"/>
              </a:rPr>
              <a:t>Competition: </a:t>
            </a:r>
            <a:r>
              <a:rPr lang="en-US" sz="1200" dirty="0">
                <a:solidFill>
                  <a:prstClr val="black"/>
                </a:solidFill>
                <a:latin typeface="Calibri"/>
              </a:rPr>
              <a:t>Competitor Revenue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ternal </a:t>
            </a:r>
            <a:r>
              <a:rPr lang="en-US" sz="1200" u="sng" dirty="0">
                <a:solidFill>
                  <a:prstClr val="black"/>
                </a:solidFill>
                <a:latin typeface="Calibri"/>
              </a:rPr>
              <a:t>Data: </a:t>
            </a:r>
            <a:r>
              <a:rPr lang="en-US" sz="1200" dirty="0">
                <a:solidFill>
                  <a:prstClr val="black"/>
                </a:solidFill>
                <a:latin typeface="Calibri"/>
              </a:rPr>
              <a:t>Covid Impact, Unemployment, GDP, Inflation, Google Trends, Ranking data</a:t>
            </a:r>
            <a:endParaRPr kumimoji="0" lang="en-US" sz="12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ounded Rectangle 26">
            <a:extLst>
              <a:ext uri="{FF2B5EF4-FFF2-40B4-BE49-F238E27FC236}">
                <a16:creationId xmlns:a16="http://schemas.microsoft.com/office/drawing/2014/main" id="{F98B41E6-5A5B-47BC-B51F-F8AB16F0E4E7}"/>
              </a:ext>
            </a:extLst>
          </p:cNvPr>
          <p:cNvSpPr/>
          <p:nvPr/>
        </p:nvSpPr>
        <p:spPr>
          <a:xfrm>
            <a:off x="1843881" y="3713018"/>
            <a:ext cx="9903883" cy="583876"/>
          </a:xfrm>
          <a:prstGeom prst="roundRect">
            <a:avLst/>
          </a:prstGeom>
          <a:solidFill>
            <a:srgbClr val="EDF2F8"/>
          </a:solidFill>
          <a:ln w="9525">
            <a:solidFill>
              <a:srgbClr val="EDF2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tal Analysi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  <a:r>
              <a:rPr lang="en-US" sz="1200" dirty="0">
                <a:solidFill>
                  <a:prstClr val="black"/>
                </a:solidFill>
                <a:latin typeface="Calibri"/>
              </a:rPr>
              <a:t>365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y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Calibri"/>
              </a:rPr>
              <a:t>[ 01/11/2019 – 30/10/2020]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1636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AA449-04C4-4791-9AF4-D540B7BBB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ame Update Indicator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48E9C5-8E2C-4413-B467-DFCC716F84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0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1DAEAD-9804-41A9-9F0D-7CEBD20D5D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D7C33F-D9AD-430F-B970-8507884B06DD}"/>
              </a:ext>
            </a:extLst>
          </p:cNvPr>
          <p:cNvSpPr txBox="1"/>
          <p:nvPr/>
        </p:nvSpPr>
        <p:spPr>
          <a:xfrm>
            <a:off x="254569" y="6346230"/>
            <a:ext cx="605245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1000" dirty="0"/>
              <a:t>Source: </a:t>
            </a:r>
            <a:r>
              <a:rPr lang="en-IN" sz="1000" dirty="0" err="1"/>
              <a:t>Yotta</a:t>
            </a:r>
            <a:r>
              <a:rPr lang="en-IN" sz="1000" dirty="0"/>
              <a:t> Games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3C8D92F2-399D-4F6E-A9C8-7B162F4AD4D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7932536"/>
              </p:ext>
            </p:extLst>
          </p:nvPr>
        </p:nvGraphicFramePr>
        <p:xfrm>
          <a:off x="242889" y="1235075"/>
          <a:ext cx="11538838" cy="5037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733852C4-B956-448A-9BEA-093C97211284}"/>
              </a:ext>
            </a:extLst>
          </p:cNvPr>
          <p:cNvSpPr txBox="1"/>
          <p:nvPr/>
        </p:nvSpPr>
        <p:spPr>
          <a:xfrm>
            <a:off x="10508564" y="6346230"/>
            <a:ext cx="123893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1000" i="1" dirty="0"/>
              <a:t>Nov 2019- Oct 2020</a:t>
            </a:r>
          </a:p>
        </p:txBody>
      </p:sp>
      <p:sp>
        <p:nvSpPr>
          <p:cNvPr id="8" name="Speech Bubble: Oval 7">
            <a:extLst>
              <a:ext uri="{FF2B5EF4-FFF2-40B4-BE49-F238E27FC236}">
                <a16:creationId xmlns:a16="http://schemas.microsoft.com/office/drawing/2014/main" id="{3CEC3E67-00DB-4527-8BB6-1A6EE2513502}"/>
              </a:ext>
            </a:extLst>
          </p:cNvPr>
          <p:cNvSpPr/>
          <p:nvPr/>
        </p:nvSpPr>
        <p:spPr>
          <a:xfrm>
            <a:off x="1539081" y="1981200"/>
            <a:ext cx="3124200" cy="1219200"/>
          </a:xfrm>
          <a:prstGeom prst="wedgeEllipseCallou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Can we have the description for respective Game update indicators?</a:t>
            </a:r>
          </a:p>
        </p:txBody>
      </p:sp>
    </p:spTree>
    <p:extLst>
      <p:ext uri="{BB962C8B-B14F-4D97-AF65-F5344CB8AC3E}">
        <p14:creationId xmlns:p14="http://schemas.microsoft.com/office/powerpoint/2010/main" val="10201399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FB8AC-1EBE-4EA1-869D-F90B220325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ersion of the Content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1EC2E0-3DD5-497D-8217-0ACE4B662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06AA33-470C-43D8-AD2C-B26DB1350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E67FC1-008E-4C2E-9DB5-C5407FFF4E76}"/>
              </a:ext>
            </a:extLst>
          </p:cNvPr>
          <p:cNvSpPr txBox="1"/>
          <p:nvPr/>
        </p:nvSpPr>
        <p:spPr>
          <a:xfrm>
            <a:off x="10508564" y="6346230"/>
            <a:ext cx="123893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1000" i="1" dirty="0"/>
              <a:t>Nov 2019- Oct 2020</a:t>
            </a:r>
          </a:p>
        </p:txBody>
      </p:sp>
      <p:graphicFrame>
        <p:nvGraphicFramePr>
          <p:cNvPr id="10" name="Table 8">
            <a:extLst>
              <a:ext uri="{FF2B5EF4-FFF2-40B4-BE49-F238E27FC236}">
                <a16:creationId xmlns:a16="http://schemas.microsoft.com/office/drawing/2014/main" id="{08E0732B-C8A0-4E06-8B9E-D63C7C40D299}"/>
              </a:ext>
            </a:extLst>
          </p:cNvPr>
          <p:cNvGraphicFramePr>
            <a:graphicFrameLocks noGrp="1"/>
          </p:cNvGraphicFramePr>
          <p:nvPr/>
        </p:nvGraphicFramePr>
        <p:xfrm>
          <a:off x="254340" y="1235076"/>
          <a:ext cx="5475740" cy="5221368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2993366">
                  <a:extLst>
                    <a:ext uri="{9D8B030D-6E8A-4147-A177-3AD203B41FA5}">
                      <a16:colId xmlns:a16="http://schemas.microsoft.com/office/drawing/2014/main" val="3299905451"/>
                    </a:ext>
                  </a:extLst>
                </a:gridCol>
                <a:gridCol w="1241187">
                  <a:extLst>
                    <a:ext uri="{9D8B030D-6E8A-4147-A177-3AD203B41FA5}">
                      <a16:colId xmlns:a16="http://schemas.microsoft.com/office/drawing/2014/main" val="1715369852"/>
                    </a:ext>
                  </a:extLst>
                </a:gridCol>
                <a:gridCol w="1241187">
                  <a:extLst>
                    <a:ext uri="{9D8B030D-6E8A-4147-A177-3AD203B41FA5}">
                      <a16:colId xmlns:a16="http://schemas.microsoft.com/office/drawing/2014/main" val="4266642281"/>
                    </a:ext>
                  </a:extLst>
                </a:gridCol>
              </a:tblGrid>
              <a:tr h="24343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rsion of the Content</a:t>
                      </a:r>
                      <a:endParaRPr lang="en-IN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rt Date</a:t>
                      </a:r>
                      <a:endParaRPr lang="en-IN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d Date</a:t>
                      </a:r>
                      <a:endParaRPr lang="en-IN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026761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lloween significant outsid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1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7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212645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beaut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8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14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9706643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wer trial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15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21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9468503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gnificant external anniversar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22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/19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7529541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ristmas Snow Scene / UI + skin / march / ex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/20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9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289903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n system ancient battlefiel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1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1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1919707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inese New Year Skin + U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1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/2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6276012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second new inner-city updat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/2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/2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9812320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t ancestor ski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/28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/5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82422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ro Aren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/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/12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9934238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ty new hero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/1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/19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2579720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VIP Store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/2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/2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3992328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beauty Av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/2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2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054410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hero Vikram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9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302757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tters of a hero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1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1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2398580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tom tribal totem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1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2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2512248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hero Rolan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2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3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5682710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nosaur system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1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5773917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ve of World War reli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15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2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2692769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ch of fus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22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28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211691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nata march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29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/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3685534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pter 15-20 stor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/5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/1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1193401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hero </a:t>
                      </a:r>
                      <a:r>
                        <a:rPr lang="en-IN" sz="11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llock</a:t>
                      </a:r>
                      <a:endParaRPr lang="en-I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/12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/18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8302757"/>
                  </a:ext>
                </a:extLst>
              </a:tr>
              <a:tr h="20676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new hero Tuya + new beauty Rit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/19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/25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0925077"/>
                  </a:ext>
                </a:extLst>
              </a:tr>
            </a:tbl>
          </a:graphicData>
        </a:graphic>
      </p:graphicFrame>
      <p:graphicFrame>
        <p:nvGraphicFramePr>
          <p:cNvPr id="11" name="Table 8">
            <a:extLst>
              <a:ext uri="{FF2B5EF4-FFF2-40B4-BE49-F238E27FC236}">
                <a16:creationId xmlns:a16="http://schemas.microsoft.com/office/drawing/2014/main" id="{ACCF3960-E3FE-4AA0-B5D3-2C9177829DF7}"/>
              </a:ext>
            </a:extLst>
          </p:cNvPr>
          <p:cNvGraphicFramePr>
            <a:graphicFrameLocks noGrp="1"/>
          </p:cNvGraphicFramePr>
          <p:nvPr/>
        </p:nvGraphicFramePr>
        <p:xfrm>
          <a:off x="6263879" y="1235076"/>
          <a:ext cx="5475740" cy="4479928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2993366">
                  <a:extLst>
                    <a:ext uri="{9D8B030D-6E8A-4147-A177-3AD203B41FA5}">
                      <a16:colId xmlns:a16="http://schemas.microsoft.com/office/drawing/2014/main" val="3299905451"/>
                    </a:ext>
                  </a:extLst>
                </a:gridCol>
                <a:gridCol w="1241187">
                  <a:extLst>
                    <a:ext uri="{9D8B030D-6E8A-4147-A177-3AD203B41FA5}">
                      <a16:colId xmlns:a16="http://schemas.microsoft.com/office/drawing/2014/main" val="1715369852"/>
                    </a:ext>
                  </a:extLst>
                </a:gridCol>
                <a:gridCol w="1241187">
                  <a:extLst>
                    <a:ext uri="{9D8B030D-6E8A-4147-A177-3AD203B41FA5}">
                      <a16:colId xmlns:a16="http://schemas.microsoft.com/office/drawing/2014/main" val="4266642281"/>
                    </a:ext>
                  </a:extLst>
                </a:gridCol>
              </a:tblGrid>
              <a:tr h="24343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rsion of the Content</a:t>
                      </a:r>
                      <a:endParaRPr lang="en-IN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rt Date</a:t>
                      </a:r>
                      <a:endParaRPr lang="en-IN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d Date</a:t>
                      </a:r>
                      <a:endParaRPr lang="en-IN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026761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bbi new hero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/2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9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9034719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and Chief of the roa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1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1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284173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beauty Yue </a:t>
                      </a:r>
                      <a:r>
                        <a:rPr lang="en-IN" sz="11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ya</a:t>
                      </a:r>
                      <a:endParaRPr lang="en-I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1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2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0531957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Heroes You B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2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3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7452008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yon Championship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3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/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704628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hero </a:t>
                      </a:r>
                      <a:r>
                        <a:rPr lang="en-IN" sz="11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k</a:t>
                      </a:r>
                      <a:endParaRPr lang="en-I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/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/1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6593823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tters Hero I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/1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/2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461613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nabata</a:t>
                      </a:r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ignificant outsid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/2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/2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5739589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imal soul system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/28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/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8101606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lderness trial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/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/1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8166864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ibe open pavil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/1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/1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8072417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host significantly outside the castl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/18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/2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6188202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artifac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/25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8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590099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i Feng to be significant beyond the Great Wall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9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15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800798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ual property relic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1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22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2840724"/>
                  </a:ext>
                </a:extLst>
              </a:tr>
              <a:tr h="2638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ath Knight march fus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2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3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1390577"/>
                  </a:ext>
                </a:extLst>
              </a:tr>
            </a:tbl>
          </a:graphicData>
        </a:graphic>
      </p:graphicFrame>
      <p:sp>
        <p:nvSpPr>
          <p:cNvPr id="8" name="Speech Bubble: Oval 7">
            <a:extLst>
              <a:ext uri="{FF2B5EF4-FFF2-40B4-BE49-F238E27FC236}">
                <a16:creationId xmlns:a16="http://schemas.microsoft.com/office/drawing/2014/main" id="{36A5F6D3-925B-45E6-9BE8-651E2550AA1E}"/>
              </a:ext>
            </a:extLst>
          </p:cNvPr>
          <p:cNvSpPr/>
          <p:nvPr/>
        </p:nvSpPr>
        <p:spPr>
          <a:xfrm>
            <a:off x="4891881" y="152400"/>
            <a:ext cx="3657600" cy="914400"/>
          </a:xfrm>
          <a:prstGeom prst="wedgeEllipseCallou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There is “Version of the Content” for almost every week. Can you highlight the Top (Major) one’s so it’s easier to include into the models?</a:t>
            </a:r>
          </a:p>
        </p:txBody>
      </p:sp>
    </p:spTree>
    <p:extLst>
      <p:ext uri="{BB962C8B-B14F-4D97-AF65-F5344CB8AC3E}">
        <p14:creationId xmlns:p14="http://schemas.microsoft.com/office/powerpoint/2010/main" val="19244100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FB8AC-1EBE-4EA1-869D-F90B220325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mportant Activities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1EC2E0-3DD5-497D-8217-0ACE4B662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06AA33-470C-43D8-AD2C-B26DB1350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E67FC1-008E-4C2E-9DB5-C5407FFF4E76}"/>
              </a:ext>
            </a:extLst>
          </p:cNvPr>
          <p:cNvSpPr txBox="1"/>
          <p:nvPr/>
        </p:nvSpPr>
        <p:spPr>
          <a:xfrm>
            <a:off x="10508564" y="6389772"/>
            <a:ext cx="123893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1000" i="1" dirty="0"/>
              <a:t>Nov 2019- Oct 2020</a:t>
            </a:r>
          </a:p>
        </p:txBody>
      </p:sp>
      <p:graphicFrame>
        <p:nvGraphicFramePr>
          <p:cNvPr id="10" name="Table 8">
            <a:extLst>
              <a:ext uri="{FF2B5EF4-FFF2-40B4-BE49-F238E27FC236}">
                <a16:creationId xmlns:a16="http://schemas.microsoft.com/office/drawing/2014/main" id="{ECC150C4-F1DC-493F-A9A5-0A074FF6E7E0}"/>
              </a:ext>
            </a:extLst>
          </p:cNvPr>
          <p:cNvGraphicFramePr>
            <a:graphicFrameLocks noGrp="1"/>
          </p:cNvGraphicFramePr>
          <p:nvPr/>
        </p:nvGraphicFramePr>
        <p:xfrm>
          <a:off x="254340" y="1235076"/>
          <a:ext cx="5475740" cy="5373028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2993366">
                  <a:extLst>
                    <a:ext uri="{9D8B030D-6E8A-4147-A177-3AD203B41FA5}">
                      <a16:colId xmlns:a16="http://schemas.microsoft.com/office/drawing/2014/main" val="3299905451"/>
                    </a:ext>
                  </a:extLst>
                </a:gridCol>
                <a:gridCol w="1241187">
                  <a:extLst>
                    <a:ext uri="{9D8B030D-6E8A-4147-A177-3AD203B41FA5}">
                      <a16:colId xmlns:a16="http://schemas.microsoft.com/office/drawing/2014/main" val="1715369852"/>
                    </a:ext>
                  </a:extLst>
                </a:gridCol>
                <a:gridCol w="1241187">
                  <a:extLst>
                    <a:ext uri="{9D8B030D-6E8A-4147-A177-3AD203B41FA5}">
                      <a16:colId xmlns:a16="http://schemas.microsoft.com/office/drawing/2014/main" val="4266642281"/>
                    </a:ext>
                  </a:extLst>
                </a:gridCol>
              </a:tblGrid>
              <a:tr h="24343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vent</a:t>
                      </a:r>
                      <a:endParaRPr lang="en-IN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rt Date</a:t>
                      </a:r>
                      <a:endParaRPr lang="en-IN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d Date</a:t>
                      </a:r>
                      <a:endParaRPr lang="en-IN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026761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lloween Week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1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7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212645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niversary of the first week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8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14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9706643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niversary Week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15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28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9468503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niversary of the Fourth Week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29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/5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7529541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ipa</a:t>
                      </a:r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raitor activit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/6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/12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289903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ristmas preparatory activitie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/13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/19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1919707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ristmas event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/20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/26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6276012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Year's Day the first week snowball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/27/20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2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9812320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Year's Second Week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9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82422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f-made festival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1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1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9934238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ring Festival the first week of activitie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1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2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2579720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inese New Year the second week of activit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2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3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3992328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iginal football gam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3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/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054410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f-made festival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/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/1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302757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lentine's Day even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/1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/2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2398580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f-made festival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/2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/2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2512248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nival party activitie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/28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/5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5682710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een's guard activities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/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/12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1193401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. Patrick's puzzle activities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/1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/19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8302757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ptor strikes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/2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2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0925077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ingming worship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9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9034719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aster eggs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1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1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284173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f-made activities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1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2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0531957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der trials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2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/3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7452008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nival Victory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704628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arly summer drink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8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1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6593823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arly summer drink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8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1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461613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5739589"/>
                  </a:ext>
                </a:extLst>
              </a:tr>
            </a:tbl>
          </a:graphicData>
        </a:graphic>
      </p:graphicFrame>
      <p:graphicFrame>
        <p:nvGraphicFramePr>
          <p:cNvPr id="13" name="Table 8">
            <a:extLst>
              <a:ext uri="{FF2B5EF4-FFF2-40B4-BE49-F238E27FC236}">
                <a16:creationId xmlns:a16="http://schemas.microsoft.com/office/drawing/2014/main" id="{9FD7834F-E66D-4127-AAA9-1DADACDDD250}"/>
              </a:ext>
            </a:extLst>
          </p:cNvPr>
          <p:cNvGraphicFramePr>
            <a:graphicFrameLocks noGrp="1"/>
          </p:cNvGraphicFramePr>
          <p:nvPr/>
        </p:nvGraphicFramePr>
        <p:xfrm>
          <a:off x="5994932" y="1235076"/>
          <a:ext cx="5475740" cy="5190387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2993366">
                  <a:extLst>
                    <a:ext uri="{9D8B030D-6E8A-4147-A177-3AD203B41FA5}">
                      <a16:colId xmlns:a16="http://schemas.microsoft.com/office/drawing/2014/main" val="3299905451"/>
                    </a:ext>
                  </a:extLst>
                </a:gridCol>
                <a:gridCol w="1241187">
                  <a:extLst>
                    <a:ext uri="{9D8B030D-6E8A-4147-A177-3AD203B41FA5}">
                      <a16:colId xmlns:a16="http://schemas.microsoft.com/office/drawing/2014/main" val="1715369852"/>
                    </a:ext>
                  </a:extLst>
                </a:gridCol>
                <a:gridCol w="1241187">
                  <a:extLst>
                    <a:ext uri="{9D8B030D-6E8A-4147-A177-3AD203B41FA5}">
                      <a16:colId xmlns:a16="http://schemas.microsoft.com/office/drawing/2014/main" val="4266642281"/>
                    </a:ext>
                  </a:extLst>
                </a:gridCol>
              </a:tblGrid>
              <a:tr h="24343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vent</a:t>
                      </a:r>
                      <a:endParaRPr lang="en-IN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rt Date</a:t>
                      </a:r>
                      <a:endParaRPr lang="en-IN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d Date</a:t>
                      </a:r>
                      <a:endParaRPr lang="en-IN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026761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cient Marathon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15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2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2790335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ed treasure hunt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22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/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2868217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cort tribute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/5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/1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8141276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mmer Carnival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/12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/18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0244487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agon Boat Festival activities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/19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/25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5730794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em construction section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/2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2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2382074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ttle Freedom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9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0352988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eedom and liberation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1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1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5787712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ssion will be to combat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1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2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5289906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rls Hero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2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3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511365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cious spring water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3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/1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389095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mmer swimming competition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/1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/2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6694318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nabata</a:t>
                      </a:r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ze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/2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/2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2690736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ited Souls Day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/28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/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6238977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nfire party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/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/1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936735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ill Assembly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/1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/1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269986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ewing Beer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/18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/24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4108279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te </a:t>
                      </a:r>
                      <a:r>
                        <a:rPr lang="ja-JP" alt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赏桂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/25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1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6785709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rvest Feast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2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8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674247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uble Ten activities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9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15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3571397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te autumn gift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1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22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7325212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cestors ghost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2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29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885774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lloween celebration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/3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5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6747070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GB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third anniversary of Carnival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12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9156832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ms race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13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19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3587001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nksgiving feast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2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26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560696"/>
                  </a:ext>
                </a:extLst>
              </a:tr>
              <a:tr h="1826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nival mural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27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30/2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7645833"/>
                  </a:ext>
                </a:extLst>
              </a:tr>
            </a:tbl>
          </a:graphicData>
        </a:graphic>
      </p:graphicFrame>
      <p:sp>
        <p:nvSpPr>
          <p:cNvPr id="8" name="Speech Bubble: Oval 7">
            <a:extLst>
              <a:ext uri="{FF2B5EF4-FFF2-40B4-BE49-F238E27FC236}">
                <a16:creationId xmlns:a16="http://schemas.microsoft.com/office/drawing/2014/main" id="{7CC7F0B4-E600-40B2-AC8F-2A9BEBA708D4}"/>
              </a:ext>
            </a:extLst>
          </p:cNvPr>
          <p:cNvSpPr/>
          <p:nvPr/>
        </p:nvSpPr>
        <p:spPr>
          <a:xfrm>
            <a:off x="4891881" y="152400"/>
            <a:ext cx="3657600" cy="914400"/>
          </a:xfrm>
          <a:prstGeom prst="wedgeEllipseCallou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There is “Events/Activities” for almost every week. Can you highlight the Top (Major) one’s so it’s easier to include into the models?</a:t>
            </a:r>
          </a:p>
        </p:txBody>
      </p:sp>
    </p:spTree>
    <p:extLst>
      <p:ext uri="{BB962C8B-B14F-4D97-AF65-F5344CB8AC3E}">
        <p14:creationId xmlns:p14="http://schemas.microsoft.com/office/powerpoint/2010/main" val="35289160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FFA7B0-B3F8-4715-80C5-D0BCE5408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3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3B7CC7-3EF4-4A9D-B97F-77BBC74D5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9FAAC6-E14C-4FE6-9ADB-91671C060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47054646-5DB8-4994-B441-D8C593466F06}"/>
              </a:ext>
            </a:extLst>
          </p:cNvPr>
          <p:cNvSpPr txBox="1">
            <a:spLocks/>
          </p:cNvSpPr>
          <p:nvPr/>
        </p:nvSpPr>
        <p:spPr>
          <a:xfrm>
            <a:off x="-1" y="0"/>
            <a:ext cx="12069763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4400" dirty="0"/>
              <a:t>Google Trends and Mobility</a:t>
            </a:r>
            <a:endParaRPr lang="en-IN" sz="4400" dirty="0"/>
          </a:p>
        </p:txBody>
      </p:sp>
    </p:spTree>
    <p:extLst>
      <p:ext uri="{BB962C8B-B14F-4D97-AF65-F5344CB8AC3E}">
        <p14:creationId xmlns:p14="http://schemas.microsoft.com/office/powerpoint/2010/main" val="38049809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50B61E-C14B-4A4A-A3A7-9FFB5F32A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idential and Parks (Google Mobility)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C455D4-3875-488F-90CB-37785DBEE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15725B7-73BF-4968-979A-EE84B63911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DCD04C-79AD-4297-8E2B-00A506433C23}"/>
              </a:ext>
            </a:extLst>
          </p:cNvPr>
          <p:cNvSpPr txBox="1"/>
          <p:nvPr/>
        </p:nvSpPr>
        <p:spPr>
          <a:xfrm>
            <a:off x="254569" y="5884565"/>
            <a:ext cx="7685312" cy="707886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000" b="1" dirty="0"/>
              <a:t>Residential </a:t>
            </a:r>
            <a:r>
              <a:rPr lang="en-US" sz="1000" dirty="0"/>
              <a:t>- Mobility trends for places of Residenc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1000" b="1" dirty="0"/>
              <a:t>Parks</a:t>
            </a:r>
            <a:r>
              <a:rPr lang="en-US" sz="1000" dirty="0"/>
              <a:t> - Mobility trends for places like national parks, public beaches , marinas, dog parks , plazas and public</a:t>
            </a:r>
          </a:p>
          <a:p>
            <a:r>
              <a:rPr lang="en-US" sz="1000" dirty="0"/>
              <a:t>Note: The data shows how visits to places, such as corner shops and parks, are changing in each geographic region</a:t>
            </a:r>
          </a:p>
          <a:p>
            <a:r>
              <a:rPr lang="en-US" sz="1000" dirty="0"/>
              <a:t>Source: </a:t>
            </a:r>
            <a:r>
              <a:rPr lang="en-US" sz="1000" dirty="0">
                <a:hlinkClick r:id="rId2"/>
              </a:rPr>
              <a:t>Google Mobility</a:t>
            </a:r>
            <a:endParaRPr lang="en-US" sz="1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18BC6-26EB-40EC-BFC1-BDB7BD874BE2}"/>
              </a:ext>
            </a:extLst>
          </p:cNvPr>
          <p:cNvSpPr txBox="1"/>
          <p:nvPr/>
        </p:nvSpPr>
        <p:spPr>
          <a:xfrm>
            <a:off x="9248839" y="5730677"/>
            <a:ext cx="2532888" cy="86177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1000" i="1" dirty="0"/>
              <a:t>Q1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Jan– 31</a:t>
            </a:r>
            <a:r>
              <a:rPr lang="en-US" sz="1000" i="1" baseline="30000" dirty="0"/>
              <a:t>th</a:t>
            </a:r>
            <a:r>
              <a:rPr lang="en-US" sz="1000" i="1" dirty="0"/>
              <a:t> March (90 days)</a:t>
            </a:r>
          </a:p>
          <a:p>
            <a:r>
              <a:rPr lang="en-US" sz="1000" i="1" dirty="0"/>
              <a:t>Q2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Apr – 30</a:t>
            </a:r>
            <a:r>
              <a:rPr lang="en-US" sz="1000" i="1" baseline="30000" dirty="0"/>
              <a:t>th</a:t>
            </a:r>
            <a:r>
              <a:rPr lang="en-US" sz="1000" i="1" dirty="0"/>
              <a:t> June (90 days)</a:t>
            </a:r>
          </a:p>
          <a:p>
            <a:r>
              <a:rPr lang="en-US" sz="1000" i="1" dirty="0"/>
              <a:t>Q3’2020 – 1st July – 30</a:t>
            </a:r>
            <a:r>
              <a:rPr lang="en-US" sz="1000" i="1" baseline="30000" dirty="0"/>
              <a:t>th</a:t>
            </a:r>
            <a:r>
              <a:rPr lang="en-US" sz="1000" i="1" dirty="0"/>
              <a:t> Sep (91 days)</a:t>
            </a:r>
          </a:p>
          <a:p>
            <a:r>
              <a:rPr lang="en-US" sz="1000" i="1" dirty="0"/>
              <a:t>01-Nov-19 – 30-Apr-20 ( 181 days)</a:t>
            </a:r>
          </a:p>
          <a:p>
            <a:r>
              <a:rPr lang="en-US" sz="1000" i="1" dirty="0"/>
              <a:t>01-May-20 – 30-Oct-20 ( 182 days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AA00F61-B737-40F3-B1E9-E2EED10C75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8631788"/>
              </p:ext>
            </p:extLst>
          </p:nvPr>
        </p:nvGraphicFramePr>
        <p:xfrm>
          <a:off x="242889" y="1235075"/>
          <a:ext cx="11504612" cy="356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6CCEBB0B-2E44-4D13-92FA-801F1C2D0B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4305195"/>
              </p:ext>
            </p:extLst>
          </p:nvPr>
        </p:nvGraphicFramePr>
        <p:xfrm>
          <a:off x="990599" y="4746625"/>
          <a:ext cx="10756902" cy="9753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792817">
                  <a:extLst>
                    <a:ext uri="{9D8B030D-6E8A-4147-A177-3AD203B41FA5}">
                      <a16:colId xmlns:a16="http://schemas.microsoft.com/office/drawing/2014/main" val="2527033448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44138687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439520298"/>
                    </a:ext>
                  </a:extLst>
                </a:gridCol>
              </a:tblGrid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Google Mobility</a:t>
                      </a:r>
                      <a:endParaRPr lang="en-IN" sz="10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1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2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3’2020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 19 – APR 20</a:t>
                      </a:r>
                    </a:p>
                  </a:txBody>
                  <a:tcPr marL="9335" marR="9335" marT="93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 20 – OCT 20</a:t>
                      </a:r>
                    </a:p>
                  </a:txBody>
                  <a:tcPr marL="9335" marR="9335" marT="933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Residential Change(in %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9</a:t>
                      </a:r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88</a:t>
                      </a:r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6</a:t>
                      </a:r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2</a:t>
                      </a:r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06</a:t>
                      </a:r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06056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Parks Change(in %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1</a:t>
                      </a:r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3</a:t>
                      </a:r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61</a:t>
                      </a:r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11</a:t>
                      </a:r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.84</a:t>
                      </a:r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267397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Revenue(MM 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405432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E569D88-1683-4BA0-8A72-B4239CB67B45}"/>
              </a:ext>
            </a:extLst>
          </p:cNvPr>
          <p:cNvSpPr/>
          <p:nvPr/>
        </p:nvSpPr>
        <p:spPr>
          <a:xfrm>
            <a:off x="423656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1.7 pt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0347C2B-B98F-4827-BAFE-A691A999A61E}"/>
              </a:ext>
            </a:extLst>
          </p:cNvPr>
          <p:cNvSpPr/>
          <p:nvPr/>
        </p:nvSpPr>
        <p:spPr>
          <a:xfrm>
            <a:off x="965057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4.9 pt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266AB5F-6888-4DC1-919E-6C7C8C654AE3}"/>
              </a:ext>
            </a:extLst>
          </p:cNvPr>
          <p:cNvSpPr/>
          <p:nvPr/>
        </p:nvSpPr>
        <p:spPr>
          <a:xfrm>
            <a:off x="6034881" y="5020468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5.9 pt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D63F4E9-6610-4601-8729-5ABA728DC2C7}"/>
              </a:ext>
            </a:extLst>
          </p:cNvPr>
          <p:cNvSpPr/>
          <p:nvPr/>
        </p:nvSpPr>
        <p:spPr>
          <a:xfrm>
            <a:off x="423656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3.3 pt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CDADC61-8309-4225-982C-6444A60C07C0}"/>
              </a:ext>
            </a:extLst>
          </p:cNvPr>
          <p:cNvSpPr/>
          <p:nvPr/>
        </p:nvSpPr>
        <p:spPr>
          <a:xfrm>
            <a:off x="965057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39.9 Pts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AED51D4-AE85-41C1-BFC7-8BCDB23FB42B}"/>
              </a:ext>
            </a:extLst>
          </p:cNvPr>
          <p:cNvSpPr/>
          <p:nvPr/>
        </p:nvSpPr>
        <p:spPr>
          <a:xfrm>
            <a:off x="6034881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32.8 Pt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02B071F-F76A-42D2-BD82-9E820BEC8E74}"/>
              </a:ext>
            </a:extLst>
          </p:cNvPr>
          <p:cNvSpPr/>
          <p:nvPr/>
        </p:nvSpPr>
        <p:spPr>
          <a:xfrm>
            <a:off x="4236561" y="5488067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06.8%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8EBDFCA-7DB3-4E45-B127-0BC19987D5FE}"/>
              </a:ext>
            </a:extLst>
          </p:cNvPr>
          <p:cNvSpPr/>
          <p:nvPr/>
        </p:nvSpPr>
        <p:spPr>
          <a:xfrm>
            <a:off x="9650571" y="5488067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27.6%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A89206B-39A7-4B8E-BC95-6ECB1667B022}"/>
              </a:ext>
            </a:extLst>
          </p:cNvPr>
          <p:cNvSpPr/>
          <p:nvPr/>
        </p:nvSpPr>
        <p:spPr>
          <a:xfrm>
            <a:off x="6034881" y="5488067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6.6%</a:t>
            </a:r>
          </a:p>
        </p:txBody>
      </p:sp>
    </p:spTree>
    <p:extLst>
      <p:ext uri="{BB962C8B-B14F-4D97-AF65-F5344CB8AC3E}">
        <p14:creationId xmlns:p14="http://schemas.microsoft.com/office/powerpoint/2010/main" val="26528061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50B61E-C14B-4A4A-A3A7-9FFB5F32A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Google Trends data based on Strategy Games Keywords for United States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C455D4-3875-488F-90CB-37785DBEE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15725B7-73BF-4968-979A-EE84B63911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DCD04C-79AD-4297-8E2B-00A506433C23}"/>
              </a:ext>
            </a:extLst>
          </p:cNvPr>
          <p:cNvSpPr txBox="1"/>
          <p:nvPr/>
        </p:nvSpPr>
        <p:spPr>
          <a:xfrm>
            <a:off x="254569" y="6346230"/>
            <a:ext cx="7685312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1000" dirty="0"/>
              <a:t>Source: </a:t>
            </a:r>
            <a:r>
              <a:rPr lang="en-US" sz="1000" dirty="0">
                <a:hlinkClick r:id="rId2"/>
              </a:rPr>
              <a:t>Google Trends</a:t>
            </a:r>
            <a:endParaRPr lang="en-US" sz="1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18BC6-26EB-40EC-BFC1-BDB7BD874BE2}"/>
              </a:ext>
            </a:extLst>
          </p:cNvPr>
          <p:cNvSpPr txBox="1"/>
          <p:nvPr/>
        </p:nvSpPr>
        <p:spPr>
          <a:xfrm>
            <a:off x="9248839" y="5730677"/>
            <a:ext cx="2532888" cy="86177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1000" i="1" dirty="0"/>
              <a:t>Q1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Jan– 31</a:t>
            </a:r>
            <a:r>
              <a:rPr lang="en-US" sz="1000" i="1" baseline="30000" dirty="0"/>
              <a:t>th</a:t>
            </a:r>
            <a:r>
              <a:rPr lang="en-US" sz="1000" i="1" dirty="0"/>
              <a:t> March (90 days)</a:t>
            </a:r>
          </a:p>
          <a:p>
            <a:r>
              <a:rPr lang="en-US" sz="1000" i="1" dirty="0"/>
              <a:t>Q2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Apr – 30</a:t>
            </a:r>
            <a:r>
              <a:rPr lang="en-US" sz="1000" i="1" baseline="30000" dirty="0"/>
              <a:t>th</a:t>
            </a:r>
            <a:r>
              <a:rPr lang="en-US" sz="1000" i="1" dirty="0"/>
              <a:t> June (90 days)</a:t>
            </a:r>
          </a:p>
          <a:p>
            <a:r>
              <a:rPr lang="en-US" sz="1000" i="1" dirty="0"/>
              <a:t>Q3’2020 – 1st July – 30</a:t>
            </a:r>
            <a:r>
              <a:rPr lang="en-US" sz="1000" i="1" baseline="30000" dirty="0"/>
              <a:t>th</a:t>
            </a:r>
            <a:r>
              <a:rPr lang="en-US" sz="1000" i="1" dirty="0"/>
              <a:t> Sep (91 days)</a:t>
            </a:r>
          </a:p>
          <a:p>
            <a:r>
              <a:rPr lang="en-US" sz="1000" i="1" dirty="0"/>
              <a:t>01-Nov-19 – 30-Apr-20 ( 181 days)</a:t>
            </a:r>
          </a:p>
          <a:p>
            <a:r>
              <a:rPr lang="en-US" sz="1000" i="1" dirty="0"/>
              <a:t>01-May-20 – 30-Oct-20 ( 182 days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AA00F61-B737-40F3-B1E9-E2EED10C75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2360727"/>
              </p:ext>
            </p:extLst>
          </p:nvPr>
        </p:nvGraphicFramePr>
        <p:xfrm>
          <a:off x="242889" y="1235075"/>
          <a:ext cx="11504612" cy="356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6CCEBB0B-2E44-4D13-92FA-801F1C2D0B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5372653"/>
              </p:ext>
            </p:extLst>
          </p:nvPr>
        </p:nvGraphicFramePr>
        <p:xfrm>
          <a:off x="990599" y="4746625"/>
          <a:ext cx="10756901" cy="7442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215482">
                  <a:extLst>
                    <a:ext uri="{9D8B030D-6E8A-4147-A177-3AD203B41FA5}">
                      <a16:colId xmlns:a16="http://schemas.microsoft.com/office/drawing/2014/main" val="2527033448"/>
                    </a:ext>
                  </a:extLst>
                </a:gridCol>
                <a:gridCol w="1318595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1318595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1318595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44138687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439520298"/>
                    </a:ext>
                  </a:extLst>
                </a:gridCol>
              </a:tblGrid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Google Trends</a:t>
                      </a:r>
                      <a:endParaRPr lang="en-IN" sz="10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1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2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3’2020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 19 – APR 20</a:t>
                      </a:r>
                    </a:p>
                  </a:txBody>
                  <a:tcPr marL="9335" marR="9335" marT="93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 20 – OCT 20</a:t>
                      </a:r>
                    </a:p>
                  </a:txBody>
                  <a:tcPr marL="9335" marR="9335" marT="933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rategy Games: (United States)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6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.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2.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3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6.4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06056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venue(MM USD)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8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6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9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7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405432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E569D88-1683-4BA0-8A72-B4239CB67B45}"/>
              </a:ext>
            </a:extLst>
          </p:cNvPr>
          <p:cNvSpPr/>
          <p:nvPr/>
        </p:nvSpPr>
        <p:spPr>
          <a:xfrm>
            <a:off x="5227161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5.1 pt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0347C2B-B98F-4827-BAFE-A691A999A61E}"/>
              </a:ext>
            </a:extLst>
          </p:cNvPr>
          <p:cNvSpPr/>
          <p:nvPr/>
        </p:nvSpPr>
        <p:spPr>
          <a:xfrm>
            <a:off x="9650571" y="5020468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</a:t>
            </a:r>
            <a:r>
              <a:rPr lang="en-GB" sz="1000" b="1">
                <a:solidFill>
                  <a:schemeClr val="bg1"/>
                </a:solidFill>
              </a:rPr>
              <a:t>16.7 pts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266AB5F-6888-4DC1-919E-6C7C8C654AE3}"/>
              </a:ext>
            </a:extLst>
          </p:cNvPr>
          <p:cNvSpPr/>
          <p:nvPr/>
        </p:nvSpPr>
        <p:spPr>
          <a:xfrm>
            <a:off x="6492081" y="5020468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18.6 pt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02B071F-F76A-42D2-BD82-9E820BEC8E74}"/>
              </a:ext>
            </a:extLst>
          </p:cNvPr>
          <p:cNvSpPr/>
          <p:nvPr/>
        </p:nvSpPr>
        <p:spPr>
          <a:xfrm>
            <a:off x="5227161" y="5257800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06.8%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8EBDFCA-7DB3-4E45-B127-0BC19987D5FE}"/>
              </a:ext>
            </a:extLst>
          </p:cNvPr>
          <p:cNvSpPr/>
          <p:nvPr/>
        </p:nvSpPr>
        <p:spPr>
          <a:xfrm>
            <a:off x="9650571" y="5257800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27.6%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A89206B-39A7-4B8E-BC95-6ECB1667B022}"/>
              </a:ext>
            </a:extLst>
          </p:cNvPr>
          <p:cNvSpPr/>
          <p:nvPr/>
        </p:nvSpPr>
        <p:spPr>
          <a:xfrm>
            <a:off x="6492081" y="5257800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6.6%</a:t>
            </a:r>
          </a:p>
        </p:txBody>
      </p:sp>
    </p:spTree>
    <p:extLst>
      <p:ext uri="{BB962C8B-B14F-4D97-AF65-F5344CB8AC3E}">
        <p14:creationId xmlns:p14="http://schemas.microsoft.com/office/powerpoint/2010/main" val="34239522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FFA7B0-B3F8-4715-80C5-D0BCE5408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26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3B7CC7-3EF4-4A9D-B97F-77BBC74D5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9FAAC6-E14C-4FE6-9ADB-91671C060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47054646-5DB8-4994-B441-D8C593466F06}"/>
              </a:ext>
            </a:extLst>
          </p:cNvPr>
          <p:cNvSpPr txBox="1">
            <a:spLocks/>
          </p:cNvSpPr>
          <p:nvPr/>
        </p:nvSpPr>
        <p:spPr>
          <a:xfrm>
            <a:off x="-1" y="0"/>
            <a:ext cx="12069763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4400" dirty="0"/>
              <a:t>Macro Factors</a:t>
            </a:r>
            <a:endParaRPr lang="en-IN" sz="4400" dirty="0"/>
          </a:p>
        </p:txBody>
      </p:sp>
    </p:spTree>
    <p:extLst>
      <p:ext uri="{BB962C8B-B14F-4D97-AF65-F5344CB8AC3E}">
        <p14:creationId xmlns:p14="http://schemas.microsoft.com/office/powerpoint/2010/main" val="12985287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50B61E-C14B-4A4A-A3A7-9FFB5F32A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Unemployment R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C455D4-3875-488F-90CB-37785DBEE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15725B7-73BF-4968-979A-EE84B63911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DCD04C-79AD-4297-8E2B-00A506433C23}"/>
              </a:ext>
            </a:extLst>
          </p:cNvPr>
          <p:cNvSpPr txBox="1"/>
          <p:nvPr/>
        </p:nvSpPr>
        <p:spPr>
          <a:xfrm>
            <a:off x="254569" y="6346230"/>
            <a:ext cx="605245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Source: </a:t>
            </a:r>
            <a:r>
              <a:rPr lang="en-US" sz="1000" dirty="0">
                <a:hlinkClick r:id="rId2"/>
              </a:rPr>
              <a:t>Fred Website</a:t>
            </a:r>
            <a:endParaRPr lang="en-US" sz="1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18BC6-26EB-40EC-BFC1-BDB7BD874BE2}"/>
              </a:ext>
            </a:extLst>
          </p:cNvPr>
          <p:cNvSpPr txBox="1"/>
          <p:nvPr/>
        </p:nvSpPr>
        <p:spPr>
          <a:xfrm>
            <a:off x="9248839" y="5730677"/>
            <a:ext cx="2532888" cy="86177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1000" i="1" dirty="0"/>
              <a:t>Q1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Jan– 31</a:t>
            </a:r>
            <a:r>
              <a:rPr lang="en-US" sz="1000" i="1" baseline="30000" dirty="0"/>
              <a:t>th</a:t>
            </a:r>
            <a:r>
              <a:rPr lang="en-US" sz="1000" i="1" dirty="0"/>
              <a:t> March (90 days)</a:t>
            </a:r>
          </a:p>
          <a:p>
            <a:r>
              <a:rPr lang="en-US" sz="1000" i="1" dirty="0"/>
              <a:t>Q2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Apr – 30</a:t>
            </a:r>
            <a:r>
              <a:rPr lang="en-US" sz="1000" i="1" baseline="30000" dirty="0"/>
              <a:t>th</a:t>
            </a:r>
            <a:r>
              <a:rPr lang="en-US" sz="1000" i="1" dirty="0"/>
              <a:t> June (90 days)</a:t>
            </a:r>
          </a:p>
          <a:p>
            <a:r>
              <a:rPr lang="en-US" sz="1000" i="1" dirty="0"/>
              <a:t>Q3’2020 – 1st July – 30</a:t>
            </a:r>
            <a:r>
              <a:rPr lang="en-US" sz="1000" i="1" baseline="30000" dirty="0"/>
              <a:t>th</a:t>
            </a:r>
            <a:r>
              <a:rPr lang="en-US" sz="1000" i="1" dirty="0"/>
              <a:t> Sep (91 days)</a:t>
            </a:r>
          </a:p>
          <a:p>
            <a:r>
              <a:rPr lang="en-US" sz="1000" i="1" dirty="0"/>
              <a:t>01-Nov-19 – 30-Apr-20 ( 181 days)</a:t>
            </a:r>
          </a:p>
          <a:p>
            <a:r>
              <a:rPr lang="en-US" sz="1000" i="1" dirty="0"/>
              <a:t>01-May-20 – 30-Oct-20 ( 182 days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AA00F61-B737-40F3-B1E9-E2EED10C75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6673980"/>
              </p:ext>
            </p:extLst>
          </p:nvPr>
        </p:nvGraphicFramePr>
        <p:xfrm>
          <a:off x="242889" y="1235075"/>
          <a:ext cx="11504612" cy="356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6CCEBB0B-2E44-4D13-92FA-801F1C2D0B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8723474"/>
              </p:ext>
            </p:extLst>
          </p:nvPr>
        </p:nvGraphicFramePr>
        <p:xfrm>
          <a:off x="990599" y="4746625"/>
          <a:ext cx="10756902" cy="7315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224882">
                  <a:extLst>
                    <a:ext uri="{9D8B030D-6E8A-4147-A177-3AD203B41FA5}">
                      <a16:colId xmlns:a16="http://schemas.microsoft.com/office/drawing/2014/main" val="2527033448"/>
                    </a:ext>
                  </a:extLst>
                </a:gridCol>
                <a:gridCol w="1706404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1706404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1706404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  <a:gridCol w="1706404">
                  <a:extLst>
                    <a:ext uri="{9D8B030D-6E8A-4147-A177-3AD203B41FA5}">
                      <a16:colId xmlns:a16="http://schemas.microsoft.com/office/drawing/2014/main" val="344138687"/>
                    </a:ext>
                  </a:extLst>
                </a:gridCol>
                <a:gridCol w="1706404">
                  <a:extLst>
                    <a:ext uri="{9D8B030D-6E8A-4147-A177-3AD203B41FA5}">
                      <a16:colId xmlns:a16="http://schemas.microsoft.com/office/drawing/2014/main" val="1439520298"/>
                    </a:ext>
                  </a:extLst>
                </a:gridCol>
              </a:tblGrid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Unemployment</a:t>
                      </a:r>
                      <a:endParaRPr lang="en-IN" sz="10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1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2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3’2020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 19 – APR 20</a:t>
                      </a:r>
                    </a:p>
                  </a:txBody>
                  <a:tcPr marL="9335" marR="9335" marT="93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 20 – OCT 20</a:t>
                      </a:r>
                    </a:p>
                  </a:txBody>
                  <a:tcPr marL="9335" marR="9335" marT="933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Unemployment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9%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%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0%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%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06056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Chief Almighty Revenue(MM 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2673974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E569D88-1683-4BA0-8A72-B4239CB67B45}"/>
              </a:ext>
            </a:extLst>
          </p:cNvPr>
          <p:cNvSpPr/>
          <p:nvPr/>
        </p:nvSpPr>
        <p:spPr>
          <a:xfrm>
            <a:off x="4665187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9.2 Pt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0347C2B-B98F-4827-BAFE-A691A999A61E}"/>
              </a:ext>
            </a:extLst>
          </p:cNvPr>
          <p:cNvSpPr/>
          <p:nvPr/>
        </p:nvSpPr>
        <p:spPr>
          <a:xfrm>
            <a:off x="9736296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4.2 Pt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266AB5F-6888-4DC1-919E-6C7C8C654AE3}"/>
              </a:ext>
            </a:extLst>
          </p:cNvPr>
          <p:cNvSpPr/>
          <p:nvPr/>
        </p:nvSpPr>
        <p:spPr>
          <a:xfrm>
            <a:off x="6307025" y="5020468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4.1 Pt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D63F4E9-6610-4601-8729-5ABA728DC2C7}"/>
              </a:ext>
            </a:extLst>
          </p:cNvPr>
          <p:cNvSpPr/>
          <p:nvPr/>
        </p:nvSpPr>
        <p:spPr>
          <a:xfrm>
            <a:off x="4665187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06.8%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CDADC61-8309-4225-982C-6444A60C07C0}"/>
              </a:ext>
            </a:extLst>
          </p:cNvPr>
          <p:cNvSpPr/>
          <p:nvPr/>
        </p:nvSpPr>
        <p:spPr>
          <a:xfrm>
            <a:off x="9736296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27.6%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AED51D4-AE85-41C1-BFC7-8BCDB23FB42B}"/>
              </a:ext>
            </a:extLst>
          </p:cNvPr>
          <p:cNvSpPr/>
          <p:nvPr/>
        </p:nvSpPr>
        <p:spPr>
          <a:xfrm>
            <a:off x="6307025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6.6%</a:t>
            </a:r>
          </a:p>
        </p:txBody>
      </p:sp>
    </p:spTree>
    <p:extLst>
      <p:ext uri="{BB962C8B-B14F-4D97-AF65-F5344CB8AC3E}">
        <p14:creationId xmlns:p14="http://schemas.microsoft.com/office/powerpoint/2010/main" val="5075227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50B61E-C14B-4A4A-A3A7-9FFB5F32A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GD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C455D4-3875-488F-90CB-37785DBEE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15725B7-73BF-4968-979A-EE84B63911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DCD04C-79AD-4297-8E2B-00A506433C23}"/>
              </a:ext>
            </a:extLst>
          </p:cNvPr>
          <p:cNvSpPr txBox="1"/>
          <p:nvPr/>
        </p:nvSpPr>
        <p:spPr>
          <a:xfrm>
            <a:off x="254569" y="6346230"/>
            <a:ext cx="605245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Source: </a:t>
            </a:r>
            <a:r>
              <a:rPr lang="en-US" sz="1000" dirty="0">
                <a:hlinkClick r:id="rId2"/>
              </a:rPr>
              <a:t>Fred Website</a:t>
            </a:r>
            <a:endParaRPr lang="en-US" sz="1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18BC6-26EB-40EC-BFC1-BDB7BD874BE2}"/>
              </a:ext>
            </a:extLst>
          </p:cNvPr>
          <p:cNvSpPr txBox="1"/>
          <p:nvPr/>
        </p:nvSpPr>
        <p:spPr>
          <a:xfrm>
            <a:off x="9248839" y="5730677"/>
            <a:ext cx="2532888" cy="86177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1000" i="1" dirty="0"/>
              <a:t>Q1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Jan– 31</a:t>
            </a:r>
            <a:r>
              <a:rPr lang="en-US" sz="1000" i="1" baseline="30000" dirty="0"/>
              <a:t>th</a:t>
            </a:r>
            <a:r>
              <a:rPr lang="en-US" sz="1000" i="1" dirty="0"/>
              <a:t> March (90 days)</a:t>
            </a:r>
          </a:p>
          <a:p>
            <a:r>
              <a:rPr lang="en-US" sz="1000" i="1" dirty="0"/>
              <a:t>Q2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Apr – 30</a:t>
            </a:r>
            <a:r>
              <a:rPr lang="en-US" sz="1000" i="1" baseline="30000" dirty="0"/>
              <a:t>th</a:t>
            </a:r>
            <a:r>
              <a:rPr lang="en-US" sz="1000" i="1" dirty="0"/>
              <a:t> June (90 days)</a:t>
            </a:r>
          </a:p>
          <a:p>
            <a:r>
              <a:rPr lang="en-US" sz="1000" i="1" dirty="0"/>
              <a:t>Q3’2020 – 1st July – 30</a:t>
            </a:r>
            <a:r>
              <a:rPr lang="en-US" sz="1000" i="1" baseline="30000" dirty="0"/>
              <a:t>th</a:t>
            </a:r>
            <a:r>
              <a:rPr lang="en-US" sz="1000" i="1" dirty="0"/>
              <a:t> Sep (91 days)</a:t>
            </a:r>
          </a:p>
          <a:p>
            <a:r>
              <a:rPr lang="en-US" sz="1000" i="1" dirty="0"/>
              <a:t>01-Nov-19 – 30-Apr-20 ( 181 days)</a:t>
            </a:r>
          </a:p>
          <a:p>
            <a:r>
              <a:rPr lang="en-US" sz="1000" i="1" dirty="0"/>
              <a:t>01-May-20 – 30-Oct-20 ( 182 days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AA00F61-B737-40F3-B1E9-E2EED10C75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0690663"/>
              </p:ext>
            </p:extLst>
          </p:nvPr>
        </p:nvGraphicFramePr>
        <p:xfrm>
          <a:off x="242889" y="1235075"/>
          <a:ext cx="11504612" cy="356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6CCEBB0B-2E44-4D13-92FA-801F1C2D0B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6075497"/>
              </p:ext>
            </p:extLst>
          </p:nvPr>
        </p:nvGraphicFramePr>
        <p:xfrm>
          <a:off x="990599" y="4746625"/>
          <a:ext cx="10756902" cy="7315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224882">
                  <a:extLst>
                    <a:ext uri="{9D8B030D-6E8A-4147-A177-3AD203B41FA5}">
                      <a16:colId xmlns:a16="http://schemas.microsoft.com/office/drawing/2014/main" val="2527033448"/>
                    </a:ext>
                  </a:extLst>
                </a:gridCol>
                <a:gridCol w="1706404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1706404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1706404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  <a:gridCol w="1706404">
                  <a:extLst>
                    <a:ext uri="{9D8B030D-6E8A-4147-A177-3AD203B41FA5}">
                      <a16:colId xmlns:a16="http://schemas.microsoft.com/office/drawing/2014/main" val="344138687"/>
                    </a:ext>
                  </a:extLst>
                </a:gridCol>
                <a:gridCol w="1706404">
                  <a:extLst>
                    <a:ext uri="{9D8B030D-6E8A-4147-A177-3AD203B41FA5}">
                      <a16:colId xmlns:a16="http://schemas.microsoft.com/office/drawing/2014/main" val="1439520298"/>
                    </a:ext>
                  </a:extLst>
                </a:gridCol>
              </a:tblGrid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GDP</a:t>
                      </a:r>
                      <a:endParaRPr lang="en-IN" sz="10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1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2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3’2020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 19 – APR 20</a:t>
                      </a:r>
                    </a:p>
                  </a:txBody>
                  <a:tcPr marL="9335" marR="9335" marT="93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 20 – OCT 20</a:t>
                      </a:r>
                    </a:p>
                  </a:txBody>
                  <a:tcPr marL="9335" marR="9335" marT="933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GDP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3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6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61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4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06056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Chief Almighty Revenue(MM 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2673974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E569D88-1683-4BA0-8A72-B4239CB67B45}"/>
              </a:ext>
            </a:extLst>
          </p:cNvPr>
          <p:cNvSpPr/>
          <p:nvPr/>
        </p:nvSpPr>
        <p:spPr>
          <a:xfrm>
            <a:off x="4665187" y="5020468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6.7 Pt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0347C2B-B98F-4827-BAFE-A691A999A61E}"/>
              </a:ext>
            </a:extLst>
          </p:cNvPr>
          <p:cNvSpPr/>
          <p:nvPr/>
        </p:nvSpPr>
        <p:spPr>
          <a:xfrm>
            <a:off x="9736296" y="5020468"/>
            <a:ext cx="640080" cy="18288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-</a:t>
            </a:r>
            <a:r>
              <a:rPr lang="en-GB" sz="1000" b="1">
                <a:solidFill>
                  <a:schemeClr val="bg1"/>
                </a:solidFill>
              </a:rPr>
              <a:t>4.4 Pts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266AB5F-6888-4DC1-919E-6C7C8C654AE3}"/>
              </a:ext>
            </a:extLst>
          </p:cNvPr>
          <p:cNvSpPr/>
          <p:nvPr/>
        </p:nvSpPr>
        <p:spPr>
          <a:xfrm>
            <a:off x="6307025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3.0 Pt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D63F4E9-6610-4601-8729-5ABA728DC2C7}"/>
              </a:ext>
            </a:extLst>
          </p:cNvPr>
          <p:cNvSpPr/>
          <p:nvPr/>
        </p:nvSpPr>
        <p:spPr>
          <a:xfrm>
            <a:off x="4665187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06.8%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CDADC61-8309-4225-982C-6444A60C07C0}"/>
              </a:ext>
            </a:extLst>
          </p:cNvPr>
          <p:cNvSpPr/>
          <p:nvPr/>
        </p:nvSpPr>
        <p:spPr>
          <a:xfrm>
            <a:off x="9736296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27.6%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AED51D4-AE85-41C1-BFC7-8BCDB23FB42B}"/>
              </a:ext>
            </a:extLst>
          </p:cNvPr>
          <p:cNvSpPr/>
          <p:nvPr/>
        </p:nvSpPr>
        <p:spPr>
          <a:xfrm>
            <a:off x="6307025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6.6%</a:t>
            </a:r>
          </a:p>
        </p:txBody>
      </p:sp>
    </p:spTree>
    <p:extLst>
      <p:ext uri="{BB962C8B-B14F-4D97-AF65-F5344CB8AC3E}">
        <p14:creationId xmlns:p14="http://schemas.microsoft.com/office/powerpoint/2010/main" val="29659134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54341" y="3048000"/>
            <a:ext cx="57300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ank you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81DF1F-AEA1-4932-A8AA-DE7AEB54D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5581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FB8AC-1EBE-4EA1-869D-F90B220325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usiness Ques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1EC2E0-3DD5-497D-8217-0ACE4B662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06AA33-470C-43D8-AD2C-B26DB1350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C1BE91A-CA19-444B-B128-7ECA364C4E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401686"/>
              </p:ext>
            </p:extLst>
          </p:nvPr>
        </p:nvGraphicFramePr>
        <p:xfrm>
          <a:off x="272483" y="1267393"/>
          <a:ext cx="11172598" cy="5043480"/>
        </p:xfrm>
        <a:graphic>
          <a:graphicData uri="http://schemas.openxmlformats.org/drawingml/2006/table">
            <a:tbl>
              <a:tblPr/>
              <a:tblGrid>
                <a:gridCol w="620898">
                  <a:extLst>
                    <a:ext uri="{9D8B030D-6E8A-4147-A177-3AD203B41FA5}">
                      <a16:colId xmlns:a16="http://schemas.microsoft.com/office/drawing/2014/main" val="2498822207"/>
                    </a:ext>
                  </a:extLst>
                </a:gridCol>
                <a:gridCol w="8610944">
                  <a:extLst>
                    <a:ext uri="{9D8B030D-6E8A-4147-A177-3AD203B41FA5}">
                      <a16:colId xmlns:a16="http://schemas.microsoft.com/office/drawing/2014/main" val="435191329"/>
                    </a:ext>
                  </a:extLst>
                </a:gridCol>
                <a:gridCol w="1940756">
                  <a:extLst>
                    <a:ext uri="{9D8B030D-6E8A-4147-A177-3AD203B41FA5}">
                      <a16:colId xmlns:a16="http://schemas.microsoft.com/office/drawing/2014/main" val="3873420041"/>
                    </a:ext>
                  </a:extLst>
                </a:gridCol>
              </a:tblGrid>
              <a:tr h="4967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.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I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usiness Question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easibility </a:t>
                      </a:r>
                    </a:p>
                    <a:p>
                      <a:pPr algn="ctr" rtl="0" fontAlgn="b"/>
                      <a:r>
                        <a:rPr lang="en-IN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venue KPI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4233544"/>
                  </a:ext>
                </a:extLst>
              </a:tr>
              <a:tr h="50089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rivers of KPI change (Due-To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400" dirty="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4853416"/>
                  </a:ext>
                </a:extLst>
              </a:tr>
              <a:tr h="50089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tributions of different media channels to KPI (1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400" dirty="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16789"/>
                  </a:ext>
                </a:extLst>
              </a:tr>
              <a:tr h="50089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OIs of digital media channels at total level</a:t>
                      </a:r>
                      <a:b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400" b="1" i="1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ROI - Revenue per 1 USD Spent)</a:t>
                      </a:r>
                      <a:endParaRPr lang="en-US" sz="1400" b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400" dirty="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6552844"/>
                  </a:ext>
                </a:extLst>
              </a:tr>
              <a:tr h="50089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OIs at campaign segment level and evaluate which segment is more efficient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400" dirty="0">
                          <a:effectLst/>
                          <a:latin typeface="+mn-lt"/>
                        </a:rPr>
                        <a:t>Yes (Only for FB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718758"/>
                  </a:ext>
                </a:extLst>
              </a:tr>
              <a:tr h="50089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valuate the optimal range of media executio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400" dirty="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0208997"/>
                  </a:ext>
                </a:extLst>
              </a:tr>
              <a:tr h="50089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timized levels of media spen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400" dirty="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8512294"/>
                  </a:ext>
                </a:extLst>
              </a:tr>
              <a:tr h="50089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mpact on KPIs when we increase our media investment by x%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400" dirty="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901991"/>
                  </a:ext>
                </a:extLst>
              </a:tr>
              <a:tr h="50089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mpact of competitor games on Chief Almighty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400" dirty="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767331"/>
                  </a:ext>
                </a:extLst>
              </a:tr>
              <a:tr h="50089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"/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mpact of Covid on the KPI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400" dirty="0"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408010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9E67FC1-008E-4C2E-9DB5-C5407FFF4E76}"/>
              </a:ext>
            </a:extLst>
          </p:cNvPr>
          <p:cNvSpPr txBox="1"/>
          <p:nvPr/>
        </p:nvSpPr>
        <p:spPr>
          <a:xfrm>
            <a:off x="10508564" y="6346230"/>
            <a:ext cx="123893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1000" i="1" dirty="0"/>
              <a:t>Nov 2019- Oct 2020</a:t>
            </a:r>
          </a:p>
        </p:txBody>
      </p:sp>
    </p:spTree>
    <p:extLst>
      <p:ext uri="{BB962C8B-B14F-4D97-AF65-F5344CB8AC3E}">
        <p14:creationId xmlns:p14="http://schemas.microsoft.com/office/powerpoint/2010/main" val="381935116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FFA7B0-B3F8-4715-80C5-D0BCE5408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0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3B7CC7-3EF4-4A9D-B97F-77BBC74D5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9FAAC6-E14C-4FE6-9ADB-91671C060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47054646-5DB8-4994-B441-D8C593466F06}"/>
              </a:ext>
            </a:extLst>
          </p:cNvPr>
          <p:cNvSpPr txBox="1">
            <a:spLocks/>
          </p:cNvSpPr>
          <p:nvPr/>
        </p:nvSpPr>
        <p:spPr>
          <a:xfrm>
            <a:off x="-1" y="0"/>
            <a:ext cx="12069763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4400" dirty="0"/>
              <a:t>Appendix</a:t>
            </a:r>
            <a:endParaRPr lang="en-IN" sz="4400" dirty="0"/>
          </a:p>
        </p:txBody>
      </p:sp>
    </p:spTree>
    <p:extLst>
      <p:ext uri="{BB962C8B-B14F-4D97-AF65-F5344CB8AC3E}">
        <p14:creationId xmlns:p14="http://schemas.microsoft.com/office/powerpoint/2010/main" val="311720824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FB8AC-1EBE-4EA1-869D-F90B220325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mpaigns Without Mapping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1EC2E0-3DD5-497D-8217-0ACE4B662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06AA33-470C-43D8-AD2C-B26DB1350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E67FC1-008E-4C2E-9DB5-C5407FFF4E76}"/>
              </a:ext>
            </a:extLst>
          </p:cNvPr>
          <p:cNvSpPr txBox="1"/>
          <p:nvPr/>
        </p:nvSpPr>
        <p:spPr>
          <a:xfrm>
            <a:off x="10508564" y="6389772"/>
            <a:ext cx="123893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1000" i="1" dirty="0"/>
              <a:t>Nov 2019- Oct 2020</a:t>
            </a:r>
          </a:p>
        </p:txBody>
      </p:sp>
      <p:graphicFrame>
        <p:nvGraphicFramePr>
          <p:cNvPr id="10" name="Table 8">
            <a:extLst>
              <a:ext uri="{FF2B5EF4-FFF2-40B4-BE49-F238E27FC236}">
                <a16:creationId xmlns:a16="http://schemas.microsoft.com/office/drawing/2014/main" id="{ECC150C4-F1DC-493F-A9A5-0A074FF6E7E0}"/>
              </a:ext>
            </a:extLst>
          </p:cNvPr>
          <p:cNvGraphicFramePr>
            <a:graphicFrameLocks noGrp="1"/>
          </p:cNvGraphicFramePr>
          <p:nvPr/>
        </p:nvGraphicFramePr>
        <p:xfrm>
          <a:off x="2845139" y="1235076"/>
          <a:ext cx="5856742" cy="5165715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5856742">
                  <a:extLst>
                    <a:ext uri="{9D8B030D-6E8A-4147-A177-3AD203B41FA5}">
                      <a16:colId xmlns:a16="http://schemas.microsoft.com/office/drawing/2014/main" val="3299905451"/>
                    </a:ext>
                  </a:extLst>
                </a:gridCol>
              </a:tblGrid>
              <a:tr h="300088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mpaigns</a:t>
                      </a:r>
                      <a:endParaRPr lang="en-IN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8026761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WW-ME </a:t>
                      </a:r>
                      <a:r>
                        <a:rPr lang="en-I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r</a:t>
                      </a:r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8-65 - CBO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212645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WW SEA </a:t>
                      </a:r>
                      <a:r>
                        <a:rPr lang="es-E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r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8-65 - CBO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9706643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WW-ME IOS 18-65 - CBO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9468503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WW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r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8-65 - CBO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7529541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US 18+M INSTALL1% andrB-TEST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289903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US 18+INSTALL1%IOS-TEST- CBO - D2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1919707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US 18+M INSTALL1% andrB-TEST - CBO - D2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6276012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US CA 18+REM IINSTALLä¸€å¤©æœªç™»é™† IOS - CBO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9812320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US CA 18+REM 100$+ ä¸ƒå¤©æœªç™»é™† IOS - CBO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682422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US CA 18+REM FF åå››å¤©æœªç™»é™† IOS - CBO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9934238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US CA 18+REM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ALLä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¸€å¤©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æœªç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™»é™† AND - CBO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2579720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US CA 18+REM 100$+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ä¸ƒå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¤©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æœªç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™»é™† AND - CBO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3992328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US CA 18+REM FF å</a:t>
                      </a:r>
                      <a:r>
                        <a:rPr lang="en-I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å››å</a:t>
                      </a:r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¤©</a:t>
                      </a:r>
                      <a:r>
                        <a:rPr lang="en-I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æœªç</a:t>
                      </a:r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™»é™† AND - CBO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054410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US CA 18+REM FF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ä¸ƒå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¤©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æœªç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™»é™† AND - CBO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302757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US CA 18+REM FF </a:t>
                      </a:r>
                      <a:r>
                        <a:rPr lang="en-I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ä¸ƒå</a:t>
                      </a:r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¤©</a:t>
                      </a:r>
                      <a:r>
                        <a:rPr lang="en-I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æœªç</a:t>
                      </a:r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™»é™† IOS - CBO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2398580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US CA 18+REM install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ä¸ƒå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¤©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æœªç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™»é™† AND - CBO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2512248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US CA 18+REM install </a:t>
                      </a:r>
                      <a:r>
                        <a:rPr lang="en-I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ä¸ƒå</a:t>
                      </a:r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¤©</a:t>
                      </a:r>
                      <a:r>
                        <a:rPr lang="en-I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æœªç</a:t>
                      </a:r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™»é™† IOS - CBO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5682710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US </a:t>
                      </a:r>
                      <a:r>
                        <a:rPr lang="en-I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r</a:t>
                      </a:r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8-65M-projecttest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1193401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: "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ðŸ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¤©The Tribal Beauty Contest has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gun!ðŸ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˜"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8302757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: "News!! An ancient cave has been found with..."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0925077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: "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ðŸŽ‰Happy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rd </a:t>
                      </a:r>
                      <a:r>
                        <a:rPr lang="en-GB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niversary!ðŸŽ</a:t>
                      </a: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‰"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9034719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US 18+M INSTALL1% </a:t>
                      </a:r>
                      <a:r>
                        <a:rPr lang="en-I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rB</a:t>
                      </a:r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 4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6284173"/>
                  </a:ext>
                </a:extLst>
              </a:tr>
              <a:tr h="211549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 WW SEA </a:t>
                      </a:r>
                      <a:r>
                        <a:rPr lang="es-E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r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8-65 - 1</a:t>
                      </a:r>
                    </a:p>
                  </a:txBody>
                  <a:tcPr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0531957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85F16FB-B34F-4AFC-A021-02DF3013DCD1}"/>
              </a:ext>
            </a:extLst>
          </p:cNvPr>
          <p:cNvSpPr/>
          <p:nvPr/>
        </p:nvSpPr>
        <p:spPr>
          <a:xfrm>
            <a:off x="9235281" y="4572000"/>
            <a:ext cx="2362200" cy="1371600"/>
          </a:xfrm>
          <a:prstGeom prst="rect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600" b="1" i="1" dirty="0"/>
              <a:t>Campaign Objective </a:t>
            </a:r>
            <a:r>
              <a:rPr lang="en-IN" sz="1600" i="1" dirty="0"/>
              <a:t>&amp; </a:t>
            </a:r>
            <a:r>
              <a:rPr lang="en-IN" sz="1600" b="1" i="1" dirty="0"/>
              <a:t>Operating System </a:t>
            </a:r>
            <a:r>
              <a:rPr lang="en-IN" sz="1600" i="1" dirty="0"/>
              <a:t>segregation required for mentioned campaigns</a:t>
            </a:r>
          </a:p>
        </p:txBody>
      </p:sp>
    </p:spTree>
    <p:extLst>
      <p:ext uri="{BB962C8B-B14F-4D97-AF65-F5344CB8AC3E}">
        <p14:creationId xmlns:p14="http://schemas.microsoft.com/office/powerpoint/2010/main" val="89110480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D2FE6-E0D8-4F0D-8CDE-31918789A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date/Events related to the Game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F537DA-70EB-4441-8DB6-9515322771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A593A1-18D9-4F8C-97C7-890FFAA709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6D9C962-32E4-4DE0-A044-260C0AC9EC09}"/>
              </a:ext>
            </a:extLst>
          </p:cNvPr>
          <p:cNvSpPr txBox="1"/>
          <p:nvPr/>
        </p:nvSpPr>
        <p:spPr>
          <a:xfrm>
            <a:off x="254569" y="6346230"/>
            <a:ext cx="605245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1000" dirty="0"/>
              <a:t>Source: </a:t>
            </a:r>
            <a:r>
              <a:rPr lang="en-IN" sz="1000" dirty="0" err="1"/>
              <a:t>Yotta</a:t>
            </a:r>
            <a:r>
              <a:rPr lang="en-IN" sz="1000" dirty="0"/>
              <a:t> Gam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E95EEE2-6888-4A69-B4FC-F66033311937}"/>
              </a:ext>
            </a:extLst>
          </p:cNvPr>
          <p:cNvSpPr txBox="1"/>
          <p:nvPr/>
        </p:nvSpPr>
        <p:spPr>
          <a:xfrm>
            <a:off x="10508564" y="6346230"/>
            <a:ext cx="123893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1000" i="1" dirty="0"/>
              <a:t>Nov 2019- Oct 2020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098BC2F-605E-4DB1-A2DD-0186B90C6C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6380698"/>
              </p:ext>
            </p:extLst>
          </p:nvPr>
        </p:nvGraphicFramePr>
        <p:xfrm>
          <a:off x="232869" y="2362200"/>
          <a:ext cx="11514631" cy="4082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54" name="Group 53">
            <a:extLst>
              <a:ext uri="{FF2B5EF4-FFF2-40B4-BE49-F238E27FC236}">
                <a16:creationId xmlns:a16="http://schemas.microsoft.com/office/drawing/2014/main" id="{AEB4574D-1645-4817-BA83-4F5D795E6098}"/>
              </a:ext>
            </a:extLst>
          </p:cNvPr>
          <p:cNvGrpSpPr/>
          <p:nvPr/>
        </p:nvGrpSpPr>
        <p:grpSpPr>
          <a:xfrm>
            <a:off x="1204339" y="1251557"/>
            <a:ext cx="10475964" cy="1174143"/>
            <a:chOff x="1204339" y="1251557"/>
            <a:chExt cx="10475964" cy="1415443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892CBCD1-3275-4643-88A5-427299026AD5}"/>
                </a:ext>
              </a:extLst>
            </p:cNvPr>
            <p:cNvSpPr/>
            <p:nvPr/>
          </p:nvSpPr>
          <p:spPr>
            <a:xfrm>
              <a:off x="1204339" y="2231910"/>
              <a:ext cx="1129874" cy="435090"/>
            </a:xfrm>
            <a:prstGeom prst="round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</a:rPr>
                <a:t>Spring Festival</a:t>
              </a: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6660399-BE75-4155-A428-D8EED89BCB9A}"/>
                </a:ext>
              </a:extLst>
            </p:cNvPr>
            <p:cNvSpPr/>
            <p:nvPr/>
          </p:nvSpPr>
          <p:spPr>
            <a:xfrm>
              <a:off x="1204339" y="1251557"/>
              <a:ext cx="1129874" cy="435090"/>
            </a:xfrm>
            <a:prstGeom prst="round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Before Christmas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99F518F7-D751-47CF-B3CC-F21BA2AA81E6}"/>
                </a:ext>
              </a:extLst>
            </p:cNvPr>
            <p:cNvSpPr/>
            <p:nvPr/>
          </p:nvSpPr>
          <p:spPr>
            <a:xfrm>
              <a:off x="1204339" y="1746817"/>
              <a:ext cx="1129874" cy="435090"/>
            </a:xfrm>
            <a:prstGeom prst="roundRect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</a:rPr>
                <a:t>Self Made Holiday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B8E21F2D-3DE2-4089-BD13-65FE9AF040AA}"/>
                </a:ext>
              </a:extLst>
            </p:cNvPr>
            <p:cNvSpPr/>
            <p:nvPr/>
          </p:nvSpPr>
          <p:spPr>
            <a:xfrm>
              <a:off x="2539495" y="2231910"/>
              <a:ext cx="1129874" cy="435090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Equinox</a:t>
              </a: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AEF9307E-11A4-4E69-9EF9-6A0EE152AE51}"/>
                </a:ext>
              </a:extLst>
            </p:cNvPr>
            <p:cNvSpPr/>
            <p:nvPr/>
          </p:nvSpPr>
          <p:spPr>
            <a:xfrm>
              <a:off x="2539495" y="1251557"/>
              <a:ext cx="1129874" cy="435090"/>
            </a:xfrm>
            <a:prstGeom prst="roundRect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Self Made Holiday</a:t>
              </a: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FBA238E4-2358-4271-B5D1-AEC25157E686}"/>
                </a:ext>
              </a:extLst>
            </p:cNvPr>
            <p:cNvSpPr/>
            <p:nvPr/>
          </p:nvSpPr>
          <p:spPr>
            <a:xfrm>
              <a:off x="2539495" y="1746817"/>
              <a:ext cx="1129874" cy="435090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 err="1">
                  <a:solidFill>
                    <a:schemeClr val="tx1"/>
                  </a:solidFill>
                </a:rPr>
                <a:t>Womens</a:t>
              </a:r>
              <a:r>
                <a:rPr lang="en-US" sz="900" b="1" dirty="0">
                  <a:solidFill>
                    <a:schemeClr val="tx1"/>
                  </a:solidFill>
                </a:rPr>
                <a:t> Day</a:t>
              </a: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E523B238-3CED-47A9-A6F5-B6F03C5DF688}"/>
                </a:ext>
              </a:extLst>
            </p:cNvPr>
            <p:cNvSpPr/>
            <p:nvPr/>
          </p:nvSpPr>
          <p:spPr>
            <a:xfrm>
              <a:off x="3874651" y="2231910"/>
              <a:ext cx="1129874" cy="435090"/>
            </a:xfrm>
            <a:prstGeom prst="roundRect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Boston Marathon</a:t>
              </a: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9A1B0BCF-77EE-4079-8A8A-DACC182C1591}"/>
                </a:ext>
              </a:extLst>
            </p:cNvPr>
            <p:cNvSpPr/>
            <p:nvPr/>
          </p:nvSpPr>
          <p:spPr>
            <a:xfrm>
              <a:off x="3874651" y="1251557"/>
              <a:ext cx="1129874" cy="435090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Ching Ming Festival</a:t>
              </a: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6FC02536-F8FC-43F7-91AF-6B0E5C9E8113}"/>
                </a:ext>
              </a:extLst>
            </p:cNvPr>
            <p:cNvSpPr/>
            <p:nvPr/>
          </p:nvSpPr>
          <p:spPr>
            <a:xfrm>
              <a:off x="3874651" y="1746817"/>
              <a:ext cx="1129874" cy="435090"/>
            </a:xfrm>
            <a:prstGeom prst="round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</a:rPr>
                <a:t>Easter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C8EC5C58-35DD-48AB-B035-D6BA28B395FF}"/>
                </a:ext>
              </a:extLst>
            </p:cNvPr>
            <p:cNvSpPr/>
            <p:nvPr/>
          </p:nvSpPr>
          <p:spPr>
            <a:xfrm>
              <a:off x="5209807" y="2231910"/>
              <a:ext cx="1129874" cy="43509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 err="1">
                  <a:solidFill>
                    <a:schemeClr val="tx1"/>
                  </a:solidFill>
                </a:rPr>
                <a:t>Memorail</a:t>
              </a:r>
              <a:r>
                <a:rPr lang="en-US" sz="900" b="1" dirty="0">
                  <a:solidFill>
                    <a:schemeClr val="tx1"/>
                  </a:solidFill>
                </a:rPr>
                <a:t> Day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E9486FFD-A07F-488C-81D2-C18898D5ECE4}"/>
                </a:ext>
              </a:extLst>
            </p:cNvPr>
            <p:cNvSpPr/>
            <p:nvPr/>
          </p:nvSpPr>
          <p:spPr>
            <a:xfrm>
              <a:off x="5209807" y="1251557"/>
              <a:ext cx="1129874" cy="435090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</a:rPr>
                <a:t>May Day</a:t>
              </a: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04711DB8-CC68-49FB-BA96-32914D4831EF}"/>
                </a:ext>
              </a:extLst>
            </p:cNvPr>
            <p:cNvSpPr/>
            <p:nvPr/>
          </p:nvSpPr>
          <p:spPr>
            <a:xfrm>
              <a:off x="5209807" y="1746817"/>
              <a:ext cx="1129874" cy="435090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Original Marathon</a:t>
              </a: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D8D9A9D8-BC11-4067-A275-6AC0BE73F5F4}"/>
                </a:ext>
              </a:extLst>
            </p:cNvPr>
            <p:cNvSpPr/>
            <p:nvPr/>
          </p:nvSpPr>
          <p:spPr>
            <a:xfrm>
              <a:off x="6544963" y="2231910"/>
              <a:ext cx="1129874" cy="435090"/>
            </a:xfrm>
            <a:prstGeom prst="round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Dragon Boat Festival</a:t>
              </a: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84BA8B91-EA51-41A3-8325-C3CD85B2DB61}"/>
                </a:ext>
              </a:extLst>
            </p:cNvPr>
            <p:cNvSpPr/>
            <p:nvPr/>
          </p:nvSpPr>
          <p:spPr>
            <a:xfrm>
              <a:off x="6544963" y="1251557"/>
              <a:ext cx="1129874" cy="435090"/>
            </a:xfrm>
            <a:prstGeom prst="round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</a:rPr>
                <a:t>Children’s day</a:t>
              </a: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9E8E88C9-1459-42FC-B2F1-8D7F62B8EB33}"/>
                </a:ext>
              </a:extLst>
            </p:cNvPr>
            <p:cNvSpPr/>
            <p:nvPr/>
          </p:nvSpPr>
          <p:spPr>
            <a:xfrm>
              <a:off x="6544963" y="1746817"/>
              <a:ext cx="1129874" cy="435090"/>
            </a:xfrm>
            <a:prstGeom prst="roundRect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</a:rPr>
                <a:t>Nomadic Migration</a:t>
              </a:r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323A7724-FC3E-4A01-8D36-64F2C0A1DD5D}"/>
                </a:ext>
              </a:extLst>
            </p:cNvPr>
            <p:cNvSpPr/>
            <p:nvPr/>
          </p:nvSpPr>
          <p:spPr>
            <a:xfrm>
              <a:off x="7880119" y="1746817"/>
              <a:ext cx="1129874" cy="435090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>
                  <a:solidFill>
                    <a:schemeClr val="tx1"/>
                  </a:solidFill>
                </a:rPr>
                <a:t>Beach Party</a:t>
              </a:r>
              <a:endParaRPr lang="en-US" sz="900" b="1" dirty="0">
                <a:solidFill>
                  <a:schemeClr val="tx1"/>
                </a:solidFill>
              </a:endParaRPr>
            </a:p>
          </p:txBody>
        </p: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87BA99CF-C3DD-4761-B6FC-34ED50D3DA82}"/>
                </a:ext>
              </a:extLst>
            </p:cNvPr>
            <p:cNvSpPr/>
            <p:nvPr/>
          </p:nvSpPr>
          <p:spPr>
            <a:xfrm>
              <a:off x="7880119" y="1251557"/>
              <a:ext cx="1129874" cy="435090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</a:rPr>
                <a:t>French National Day</a:t>
              </a:r>
            </a:p>
          </p:txBody>
        </p: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E46FEF5C-D842-4E58-9833-6AB8B6940F3C}"/>
                </a:ext>
              </a:extLst>
            </p:cNvPr>
            <p:cNvSpPr/>
            <p:nvPr/>
          </p:nvSpPr>
          <p:spPr>
            <a:xfrm>
              <a:off x="9215275" y="1746817"/>
              <a:ext cx="1129874" cy="435090"/>
            </a:xfrm>
            <a:prstGeom prst="roundRect">
              <a:avLst/>
            </a:prstGeom>
            <a:solidFill>
              <a:srgbClr val="7030A0"/>
            </a:solidFill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Hungry  Ghost Festival</a:t>
              </a:r>
            </a:p>
          </p:txBody>
        </p: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F7811DA9-EF1D-4E54-B2BD-8EC3DDBA0033}"/>
                </a:ext>
              </a:extLst>
            </p:cNvPr>
            <p:cNvSpPr/>
            <p:nvPr/>
          </p:nvSpPr>
          <p:spPr>
            <a:xfrm>
              <a:off x="7880119" y="2231910"/>
              <a:ext cx="1129874" cy="43509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</a:rPr>
                <a:t>Tribal Fetters</a:t>
              </a:r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EE7BFBC5-592C-4BA4-B1B0-7E58994375EE}"/>
                </a:ext>
              </a:extLst>
            </p:cNvPr>
            <p:cNvSpPr/>
            <p:nvPr/>
          </p:nvSpPr>
          <p:spPr>
            <a:xfrm>
              <a:off x="9215275" y="1251557"/>
              <a:ext cx="1129874" cy="435090"/>
            </a:xfrm>
            <a:prstGeom prst="round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 err="1">
                  <a:solidFill>
                    <a:schemeClr val="bg1"/>
                  </a:solidFill>
                </a:rPr>
                <a:t>Qixi</a:t>
              </a:r>
              <a:r>
                <a:rPr lang="en-US" sz="900" b="1" dirty="0">
                  <a:solidFill>
                    <a:schemeClr val="bg1"/>
                  </a:solidFill>
                </a:rPr>
                <a:t> Festival</a:t>
              </a: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9E44BEAB-8E8E-4CEF-853F-8CF1CF108A4B}"/>
                </a:ext>
              </a:extLst>
            </p:cNvPr>
            <p:cNvSpPr/>
            <p:nvPr/>
          </p:nvSpPr>
          <p:spPr>
            <a:xfrm>
              <a:off x="9215275" y="2231910"/>
              <a:ext cx="1129874" cy="435090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</a:rPr>
                <a:t>Burning Man Festival</a:t>
              </a: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34EBBA78-4221-4DF3-9E6A-F9DFACDA71D1}"/>
                </a:ext>
              </a:extLst>
            </p:cNvPr>
            <p:cNvSpPr/>
            <p:nvPr/>
          </p:nvSpPr>
          <p:spPr>
            <a:xfrm>
              <a:off x="10550429" y="1251557"/>
              <a:ext cx="1129874" cy="435090"/>
            </a:xfrm>
            <a:prstGeom prst="round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tx1"/>
                  </a:solidFill>
                </a:rPr>
                <a:t>Self Made Holiday</a:t>
              </a: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649C32C1-C71A-418E-9859-C5C24F1F4688}"/>
                </a:ext>
              </a:extLst>
            </p:cNvPr>
            <p:cNvSpPr/>
            <p:nvPr/>
          </p:nvSpPr>
          <p:spPr>
            <a:xfrm>
              <a:off x="10550429" y="1746817"/>
              <a:ext cx="1129874" cy="435090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St. </a:t>
              </a:r>
              <a:r>
                <a:rPr lang="en-US" sz="900" b="1" dirty="0" err="1">
                  <a:solidFill>
                    <a:schemeClr val="bg1"/>
                  </a:solidFill>
                </a:rPr>
                <a:t>Patricks</a:t>
              </a:r>
              <a:endParaRPr lang="en-US" sz="9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44944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7E5F06-612D-4E74-BA7C-61D648AAB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US Presidential Elec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4D965E-D631-4886-B3BC-E11FC73E75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3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A1A0A0-92D2-4DCF-96A0-94C4866C24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BD75AB7-2091-40A1-9C43-EF16E28C9C0D}"/>
              </a:ext>
            </a:extLst>
          </p:cNvPr>
          <p:cNvSpPr txBox="1"/>
          <p:nvPr/>
        </p:nvSpPr>
        <p:spPr>
          <a:xfrm>
            <a:off x="254568" y="5884565"/>
            <a:ext cx="11492931" cy="707886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Note: (1) Google Trend Numbers represent search interest relative to the highest point on the chart. A value of 100 is the peak popularity for the term. A value of 50 means that the term is half as popular. A score of 0 means there was not enough data for this term.</a:t>
            </a:r>
            <a:br>
              <a:rPr lang="en-US" sz="1000" dirty="0"/>
            </a:br>
            <a:r>
              <a:rPr lang="en-US" sz="1000" dirty="0"/>
              <a:t>Source: Google Trends; Key words – United States Presidential election, 2020; Category – Game</a:t>
            </a:r>
            <a:br>
              <a:rPr lang="en-US" sz="1000" dirty="0"/>
            </a:br>
            <a:r>
              <a:rPr lang="en-US" sz="1000" dirty="0"/>
              <a:t>2) Important dates are Debate dates and General Election date (Source- New York Times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F01D99-ACF1-4E9B-A740-7C4C9E4D38AA}"/>
              </a:ext>
            </a:extLst>
          </p:cNvPr>
          <p:cNvSpPr txBox="1"/>
          <p:nvPr/>
        </p:nvSpPr>
        <p:spPr>
          <a:xfrm>
            <a:off x="10508564" y="6346230"/>
            <a:ext cx="123893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1000" i="1" dirty="0"/>
              <a:t>Nov 2019- Oct 2020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F11D864-899A-43E3-BF4E-60EF3A8EB4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8823940"/>
              </p:ext>
            </p:extLst>
          </p:nvPr>
        </p:nvGraphicFramePr>
        <p:xfrm>
          <a:off x="242888" y="1143000"/>
          <a:ext cx="11538839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114811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450B61E-C14B-4A4A-A3A7-9FFB5F32A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err="1"/>
              <a:t>Covid</a:t>
            </a:r>
            <a:r>
              <a:rPr lang="en-IN" dirty="0"/>
              <a:t> Cas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C455D4-3875-488F-90CB-37785DBEE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15725B7-73BF-4968-979A-EE84B63911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© Analytic Edge Proprietary and Confidential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DCD04C-79AD-4297-8E2B-00A506433C23}"/>
              </a:ext>
            </a:extLst>
          </p:cNvPr>
          <p:cNvSpPr txBox="1"/>
          <p:nvPr/>
        </p:nvSpPr>
        <p:spPr>
          <a:xfrm>
            <a:off x="254569" y="6346230"/>
            <a:ext cx="605245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000" dirty="0"/>
              <a:t>Source: </a:t>
            </a:r>
            <a:r>
              <a:rPr lang="en-US" sz="1000" dirty="0" err="1">
                <a:hlinkClick r:id="rId2"/>
              </a:rPr>
              <a:t>Covid</a:t>
            </a:r>
            <a:r>
              <a:rPr lang="en-US" sz="1000" dirty="0">
                <a:hlinkClick r:id="rId2"/>
              </a:rPr>
              <a:t> Data</a:t>
            </a:r>
            <a:endParaRPr lang="en-US" sz="1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18BC6-26EB-40EC-BFC1-BDB7BD874BE2}"/>
              </a:ext>
            </a:extLst>
          </p:cNvPr>
          <p:cNvSpPr txBox="1"/>
          <p:nvPr/>
        </p:nvSpPr>
        <p:spPr>
          <a:xfrm>
            <a:off x="9248839" y="5730677"/>
            <a:ext cx="2532888" cy="86177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1000" i="1" dirty="0"/>
              <a:t>Q1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Jan– 31</a:t>
            </a:r>
            <a:r>
              <a:rPr lang="en-US" sz="1000" i="1" baseline="30000" dirty="0"/>
              <a:t>th</a:t>
            </a:r>
            <a:r>
              <a:rPr lang="en-US" sz="1000" i="1" dirty="0"/>
              <a:t> March (90 days)</a:t>
            </a:r>
          </a:p>
          <a:p>
            <a:r>
              <a:rPr lang="en-US" sz="1000" i="1" dirty="0"/>
              <a:t>Q2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Apr – 30</a:t>
            </a:r>
            <a:r>
              <a:rPr lang="en-US" sz="1000" i="1" baseline="30000" dirty="0"/>
              <a:t>th</a:t>
            </a:r>
            <a:r>
              <a:rPr lang="en-US" sz="1000" i="1" dirty="0"/>
              <a:t> June (90 days)</a:t>
            </a:r>
          </a:p>
          <a:p>
            <a:r>
              <a:rPr lang="en-US" sz="1000" i="1" dirty="0"/>
              <a:t>Q3’2020 – 1st July – 30</a:t>
            </a:r>
            <a:r>
              <a:rPr lang="en-US" sz="1000" i="1" baseline="30000" dirty="0"/>
              <a:t>th</a:t>
            </a:r>
            <a:r>
              <a:rPr lang="en-US" sz="1000" i="1" dirty="0"/>
              <a:t> Sep (91 days)</a:t>
            </a:r>
          </a:p>
          <a:p>
            <a:r>
              <a:rPr lang="en-US" sz="1000" i="1" dirty="0"/>
              <a:t>01-Nov-19 – 30-Apr-20 ( 181 days)</a:t>
            </a:r>
          </a:p>
          <a:p>
            <a:r>
              <a:rPr lang="en-US" sz="1000" i="1" dirty="0"/>
              <a:t>01-May-20 – 30-Oct-20 ( 182 days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AA00F61-B737-40F3-B1E9-E2EED10C75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5534293"/>
              </p:ext>
            </p:extLst>
          </p:nvPr>
        </p:nvGraphicFramePr>
        <p:xfrm>
          <a:off x="242889" y="1235075"/>
          <a:ext cx="11504612" cy="356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6CCEBB0B-2E44-4D13-92FA-801F1C2D0B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4357740"/>
              </p:ext>
            </p:extLst>
          </p:nvPr>
        </p:nvGraphicFramePr>
        <p:xfrm>
          <a:off x="990599" y="4746625"/>
          <a:ext cx="10756902" cy="7315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224882">
                  <a:extLst>
                    <a:ext uri="{9D8B030D-6E8A-4147-A177-3AD203B41FA5}">
                      <a16:colId xmlns:a16="http://schemas.microsoft.com/office/drawing/2014/main" val="2527033448"/>
                    </a:ext>
                  </a:extLst>
                </a:gridCol>
                <a:gridCol w="1706404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1706404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1706404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  <a:gridCol w="1706404">
                  <a:extLst>
                    <a:ext uri="{9D8B030D-6E8A-4147-A177-3AD203B41FA5}">
                      <a16:colId xmlns:a16="http://schemas.microsoft.com/office/drawing/2014/main" val="344138687"/>
                    </a:ext>
                  </a:extLst>
                </a:gridCol>
                <a:gridCol w="1706404">
                  <a:extLst>
                    <a:ext uri="{9D8B030D-6E8A-4147-A177-3AD203B41FA5}">
                      <a16:colId xmlns:a16="http://schemas.microsoft.com/office/drawing/2014/main" val="1439520298"/>
                    </a:ext>
                  </a:extLst>
                </a:gridCol>
              </a:tblGrid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/>
                        <a:t>Covid Cases</a:t>
                      </a:r>
                      <a:endParaRPr lang="en-IN" sz="10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1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2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3’2020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 19 – APR 20</a:t>
                      </a:r>
                    </a:p>
                  </a:txBody>
                  <a:tcPr marL="9335" marR="9335" marT="93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 20 – OCT 20</a:t>
                      </a:r>
                    </a:p>
                  </a:txBody>
                  <a:tcPr marL="9335" marR="9335" marT="933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No. Of Covid Cases(MM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6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060565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Chief Almighty Revenue(MM 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2673974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E569D88-1683-4BA0-8A72-B4239CB67B45}"/>
              </a:ext>
            </a:extLst>
          </p:cNvPr>
          <p:cNvSpPr/>
          <p:nvPr/>
        </p:nvSpPr>
        <p:spPr>
          <a:xfrm>
            <a:off x="4665187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,373.7%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0347C2B-B98F-4827-BAFE-A691A999A61E}"/>
              </a:ext>
            </a:extLst>
          </p:cNvPr>
          <p:cNvSpPr/>
          <p:nvPr/>
        </p:nvSpPr>
        <p:spPr>
          <a:xfrm>
            <a:off x="9736296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>
                <a:solidFill>
                  <a:schemeClr val="bg1"/>
                </a:solidFill>
              </a:rPr>
              <a:t>660.3%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266AB5F-6888-4DC1-919E-6C7C8C654AE3}"/>
              </a:ext>
            </a:extLst>
          </p:cNvPr>
          <p:cNvSpPr/>
          <p:nvPr/>
        </p:nvSpPr>
        <p:spPr>
          <a:xfrm>
            <a:off x="6307025" y="502046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89.6%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D63F4E9-6610-4601-8729-5ABA728DC2C7}"/>
              </a:ext>
            </a:extLst>
          </p:cNvPr>
          <p:cNvSpPr/>
          <p:nvPr/>
        </p:nvSpPr>
        <p:spPr>
          <a:xfrm>
            <a:off x="4665187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06.8%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CDADC61-8309-4225-982C-6444A60C07C0}"/>
              </a:ext>
            </a:extLst>
          </p:cNvPr>
          <p:cNvSpPr/>
          <p:nvPr/>
        </p:nvSpPr>
        <p:spPr>
          <a:xfrm>
            <a:off x="9736296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27.6%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AED51D4-AE85-41C1-BFC7-8BCDB23FB42B}"/>
              </a:ext>
            </a:extLst>
          </p:cNvPr>
          <p:cNvSpPr/>
          <p:nvPr/>
        </p:nvSpPr>
        <p:spPr>
          <a:xfrm>
            <a:off x="6307025" y="525367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6.6%</a:t>
            </a:r>
          </a:p>
        </p:txBody>
      </p:sp>
    </p:spTree>
    <p:extLst>
      <p:ext uri="{BB962C8B-B14F-4D97-AF65-F5344CB8AC3E}">
        <p14:creationId xmlns:p14="http://schemas.microsoft.com/office/powerpoint/2010/main" val="157915216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AA449-04C4-4791-9AF4-D540B7BBB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Model will consider the drivers in 3 buckets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48E9C5-8E2C-4413-B467-DFCC716F84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3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1DAEAD-9804-41A9-9F0D-7CEBD20D5D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Rounded Rectangle 34">
            <a:extLst>
              <a:ext uri="{FF2B5EF4-FFF2-40B4-BE49-F238E27FC236}">
                <a16:creationId xmlns:a16="http://schemas.microsoft.com/office/drawing/2014/main" id="{6EAAB535-289B-470A-9783-BABCF71BEBFB}"/>
              </a:ext>
            </a:extLst>
          </p:cNvPr>
          <p:cNvSpPr/>
          <p:nvPr/>
        </p:nvSpPr>
        <p:spPr>
          <a:xfrm>
            <a:off x="4495800" y="1295400"/>
            <a:ext cx="2811258" cy="408558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prstClr val="white"/>
                </a:solidFill>
                <a:latin typeface="Calibri"/>
              </a:rPr>
              <a:t>Incrementa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ounded Rectangle 14">
            <a:extLst>
              <a:ext uri="{FF2B5EF4-FFF2-40B4-BE49-F238E27FC236}">
                <a16:creationId xmlns:a16="http://schemas.microsoft.com/office/drawing/2014/main" id="{6C1CBEE6-233F-4B57-88F4-1C3006E1A2A6}"/>
              </a:ext>
            </a:extLst>
          </p:cNvPr>
          <p:cNvSpPr/>
          <p:nvPr/>
        </p:nvSpPr>
        <p:spPr>
          <a:xfrm>
            <a:off x="7387157" y="1295400"/>
            <a:ext cx="2811258" cy="408558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scellaneou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5C6EE99-7CC3-4AF6-8A72-03E9AE6EBF9A}"/>
              </a:ext>
            </a:extLst>
          </p:cNvPr>
          <p:cNvGraphicFramePr>
            <a:graphicFrameLocks noGrp="1"/>
          </p:cNvGraphicFramePr>
          <p:nvPr/>
        </p:nvGraphicFramePr>
        <p:xfrm>
          <a:off x="4495800" y="1752600"/>
          <a:ext cx="2784970" cy="3054136"/>
        </p:xfrm>
        <a:graphic>
          <a:graphicData uri="http://schemas.openxmlformats.org/drawingml/2006/table">
            <a:tbl>
              <a:tblPr bandRow="1"/>
              <a:tblGrid>
                <a:gridCol w="27849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8176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D</a:t>
                      </a:r>
                      <a:r>
                        <a:rPr lang="en-IN" sz="1200" b="1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igital</a:t>
                      </a: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E1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767">
                <a:tc>
                  <a:txBody>
                    <a:bodyPr/>
                    <a:lstStyle>
                      <a:lvl1pPr marL="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02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04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069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09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11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213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9915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618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IN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YouTube</a:t>
                      </a: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2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1767">
                <a:tc>
                  <a:txBody>
                    <a:bodyPr/>
                    <a:lstStyle>
                      <a:lvl1pPr marL="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02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04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069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09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11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213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9915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618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D</a:t>
                      </a:r>
                      <a:r>
                        <a:rPr lang="en-IN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isplay Network</a:t>
                      </a: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2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1263784"/>
                  </a:ext>
                </a:extLst>
              </a:tr>
              <a:tr h="381767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Search(Google)</a:t>
                      </a:r>
                      <a:endParaRPr lang="en-IN" sz="120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2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6829725"/>
                  </a:ext>
                </a:extLst>
              </a:tr>
              <a:tr h="381767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Search(Apple)</a:t>
                      </a:r>
                      <a:endParaRPr lang="en-IN" sz="120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2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399997"/>
                  </a:ext>
                </a:extLst>
              </a:tr>
              <a:tr h="381767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Non-Social Display</a:t>
                      </a:r>
                      <a:endParaRPr lang="en-IN" sz="120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2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4651995"/>
                  </a:ext>
                </a:extLst>
              </a:tr>
              <a:tr h="381767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Non-Social Video</a:t>
                      </a:r>
                      <a:endParaRPr lang="en-IN" sz="120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2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767132"/>
                  </a:ext>
                </a:extLst>
              </a:tr>
              <a:tr h="381767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Facebook Data</a:t>
                      </a:r>
                      <a:endParaRPr lang="en-IN" sz="120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2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9781570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21857DB0-36F4-4E89-82A1-4BA4E631ACA9}"/>
              </a:ext>
            </a:extLst>
          </p:cNvPr>
          <p:cNvGraphicFramePr>
            <a:graphicFrameLocks noGrp="1"/>
          </p:cNvGraphicFramePr>
          <p:nvPr/>
        </p:nvGraphicFramePr>
        <p:xfrm>
          <a:off x="7413446" y="1758592"/>
          <a:ext cx="2808000" cy="2464005"/>
        </p:xfrm>
        <a:graphic>
          <a:graphicData uri="http://schemas.openxmlformats.org/drawingml/2006/table">
            <a:tbl>
              <a:tblPr bandRow="1"/>
              <a:tblGrid>
                <a:gridCol w="280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3669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Macro Factors</a:t>
                      </a:r>
                      <a:endParaRPr lang="en-IN" sz="1200" b="1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E1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3513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GDP </a:t>
                      </a:r>
                      <a:endParaRPr lang="en-IN" sz="120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2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3513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Unemployment</a:t>
                      </a:r>
                      <a:endParaRPr lang="en-IN" sz="120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2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35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Inflation</a:t>
                      </a:r>
                      <a:endParaRPr lang="en-IN" sz="120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2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982041"/>
                  </a:ext>
                </a:extLst>
              </a:tr>
              <a:tr h="4135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Google Mobility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(Parks and Residential)</a:t>
                      </a:r>
                      <a:endParaRPr lang="en-IN" sz="120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2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3981912"/>
                  </a:ext>
                </a:extLst>
              </a:tr>
              <a:tr h="4135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Game Ranking</a:t>
                      </a:r>
                      <a:endParaRPr lang="en-IN" sz="120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2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830100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194B219E-B003-463A-AC16-FEF1A11CFA40}"/>
              </a:ext>
            </a:extLst>
          </p:cNvPr>
          <p:cNvGraphicFramePr>
            <a:graphicFrameLocks noGrp="1"/>
          </p:cNvGraphicFramePr>
          <p:nvPr/>
        </p:nvGraphicFramePr>
        <p:xfrm>
          <a:off x="1609497" y="1758589"/>
          <a:ext cx="2784970" cy="1908835"/>
        </p:xfrm>
        <a:graphic>
          <a:graphicData uri="http://schemas.openxmlformats.org/drawingml/2006/table">
            <a:tbl>
              <a:tblPr bandRow="1"/>
              <a:tblGrid>
                <a:gridCol w="27849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81767">
                <a:tc>
                  <a:txBody>
                    <a:bodyPr/>
                    <a:lstStyle>
                      <a:lvl1pPr marL="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02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04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069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09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11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2132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99153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6180" algn="l" defTabSz="914043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Base Variables</a:t>
                      </a:r>
                      <a:endParaRPr lang="en-IN" sz="1200" b="1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E1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767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N</a:t>
                      </a:r>
                      <a:r>
                        <a:rPr lang="en-IN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o Of Apps Installed</a:t>
                      </a: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2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1767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Game Update Indicator</a:t>
                      </a:r>
                      <a:endParaRPr lang="en-IN" sz="120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2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176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Competitors Revenue</a:t>
                      </a:r>
                      <a:endParaRPr lang="en-IN" sz="120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2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5018676"/>
                  </a:ext>
                </a:extLst>
              </a:tr>
              <a:tr h="381767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Google Trend</a:t>
                      </a:r>
                      <a:endParaRPr lang="en-IN" sz="120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0523" marR="90523" marT="45262" marB="45262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2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053215"/>
                  </a:ext>
                </a:extLst>
              </a:tr>
            </a:tbl>
          </a:graphicData>
        </a:graphic>
      </p:graphicFrame>
      <p:sp>
        <p:nvSpPr>
          <p:cNvPr id="10" name="Rounded Rectangle 34">
            <a:extLst>
              <a:ext uri="{FF2B5EF4-FFF2-40B4-BE49-F238E27FC236}">
                <a16:creationId xmlns:a16="http://schemas.microsoft.com/office/drawing/2014/main" id="{3122411C-9D3E-48C9-928B-DD7AEFEA1CE9}"/>
              </a:ext>
            </a:extLst>
          </p:cNvPr>
          <p:cNvSpPr/>
          <p:nvPr/>
        </p:nvSpPr>
        <p:spPr>
          <a:xfrm>
            <a:off x="1583209" y="1295400"/>
            <a:ext cx="2811258" cy="408558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D7C33F-D9AD-430F-B970-8507884B06DD}"/>
              </a:ext>
            </a:extLst>
          </p:cNvPr>
          <p:cNvSpPr txBox="1"/>
          <p:nvPr/>
        </p:nvSpPr>
        <p:spPr>
          <a:xfrm>
            <a:off x="254569" y="6115397"/>
            <a:ext cx="6052456" cy="47705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114300" indent="-1143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b="1" dirty="0"/>
              <a:t>Residential </a:t>
            </a:r>
            <a:r>
              <a:rPr lang="en-IN" sz="1000" dirty="0"/>
              <a:t>-</a:t>
            </a:r>
            <a:r>
              <a:rPr lang="en-IN" sz="1000" b="1" dirty="0"/>
              <a:t> </a:t>
            </a:r>
            <a:r>
              <a:rPr lang="en-IN" sz="1000" dirty="0"/>
              <a:t>Mobility trends for places of Residence</a:t>
            </a:r>
          </a:p>
          <a:p>
            <a:pPr marL="114300" indent="-1143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b="1" dirty="0"/>
              <a:t>Parks</a:t>
            </a:r>
            <a:r>
              <a:rPr lang="en-IN" sz="1000" dirty="0"/>
              <a:t> - Mobility trends for places like national parks, public beaches , marinas, dog parks , plazas and public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0DCFAA9-916F-456F-93A0-2B97108084E3}"/>
              </a:ext>
            </a:extLst>
          </p:cNvPr>
          <p:cNvSpPr txBox="1"/>
          <p:nvPr/>
        </p:nvSpPr>
        <p:spPr>
          <a:xfrm>
            <a:off x="10508564" y="6346230"/>
            <a:ext cx="123893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1000" i="1" dirty="0"/>
              <a:t>Nov 2019- Oct 2020</a:t>
            </a:r>
          </a:p>
        </p:txBody>
      </p:sp>
    </p:spTree>
    <p:extLst>
      <p:ext uri="{BB962C8B-B14F-4D97-AF65-F5344CB8AC3E}">
        <p14:creationId xmlns:p14="http://schemas.microsoft.com/office/powerpoint/2010/main" val="15886153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AA449-04C4-4791-9AF4-D540B7BBB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ief Almighty Revenue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48E9C5-8E2C-4413-B467-DFCC716F84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4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1DAEAD-9804-41A9-9F0D-7CEBD20D5D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D7C33F-D9AD-430F-B970-8507884B06DD}"/>
              </a:ext>
            </a:extLst>
          </p:cNvPr>
          <p:cNvSpPr txBox="1"/>
          <p:nvPr/>
        </p:nvSpPr>
        <p:spPr>
          <a:xfrm>
            <a:off x="254569" y="6346230"/>
            <a:ext cx="605245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1000" dirty="0"/>
              <a:t>Source: </a:t>
            </a:r>
            <a:r>
              <a:rPr lang="en-IN" sz="1000" dirty="0" err="1"/>
              <a:t>Yotta</a:t>
            </a:r>
            <a:r>
              <a:rPr lang="en-IN" sz="1000" dirty="0"/>
              <a:t> Games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6527CC5C-A017-4E8D-B9C3-6CF6E32949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4088708"/>
              </p:ext>
            </p:extLst>
          </p:nvPr>
        </p:nvGraphicFramePr>
        <p:xfrm>
          <a:off x="242889" y="1235075"/>
          <a:ext cx="11504612" cy="356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Table 5">
            <a:extLst>
              <a:ext uri="{FF2B5EF4-FFF2-40B4-BE49-F238E27FC236}">
                <a16:creationId xmlns:a16="http://schemas.microsoft.com/office/drawing/2014/main" id="{ACC7159C-815A-41C2-A946-40460BE567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7799660"/>
              </p:ext>
            </p:extLst>
          </p:nvPr>
        </p:nvGraphicFramePr>
        <p:xfrm>
          <a:off x="990599" y="4727575"/>
          <a:ext cx="10756902" cy="48768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792817">
                  <a:extLst>
                    <a:ext uri="{9D8B030D-6E8A-4147-A177-3AD203B41FA5}">
                      <a16:colId xmlns:a16="http://schemas.microsoft.com/office/drawing/2014/main" val="2527033448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44138687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439520298"/>
                    </a:ext>
                  </a:extLst>
                </a:gridCol>
              </a:tblGrid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+mn-lt"/>
                        </a:rPr>
                        <a:t>KPI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+mn-lt"/>
                        </a:rPr>
                        <a:t>Q1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+mn-lt"/>
                        </a:rPr>
                        <a:t>Q2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latin typeface="+mn-lt"/>
                        </a:rPr>
                        <a:t>Q3’2020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 19 – APR 20</a:t>
                      </a:r>
                    </a:p>
                  </a:txBody>
                  <a:tcPr marL="9335" marR="9335" marT="93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 20 – OCT 20</a:t>
                      </a:r>
                    </a:p>
                  </a:txBody>
                  <a:tcPr marL="9335" marR="9335" marT="933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Revenue(MM 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6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9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7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405432"/>
                  </a:ext>
                </a:extLst>
              </a:tr>
            </a:tbl>
          </a:graphicData>
        </a:graphic>
      </p:graphicFrame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1AED81A-089E-48CE-9B66-249B986E65FB}"/>
              </a:ext>
            </a:extLst>
          </p:cNvPr>
          <p:cNvSpPr/>
          <p:nvPr/>
        </p:nvSpPr>
        <p:spPr>
          <a:xfrm>
            <a:off x="4236561" y="500141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06.8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53BF07C-15F7-45AC-BB39-2BF4338F7A33}"/>
              </a:ext>
            </a:extLst>
          </p:cNvPr>
          <p:cNvSpPr/>
          <p:nvPr/>
        </p:nvSpPr>
        <p:spPr>
          <a:xfrm>
            <a:off x="9650571" y="500141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27.6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1CC183A-D0D9-4854-9680-9CE09BE0C9EB}"/>
              </a:ext>
            </a:extLst>
          </p:cNvPr>
          <p:cNvSpPr/>
          <p:nvPr/>
        </p:nvSpPr>
        <p:spPr>
          <a:xfrm>
            <a:off x="6034881" y="500141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6.6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42075F6-045B-474E-AC06-4769C4C284F5}"/>
              </a:ext>
            </a:extLst>
          </p:cNvPr>
          <p:cNvSpPr txBox="1"/>
          <p:nvPr/>
        </p:nvSpPr>
        <p:spPr>
          <a:xfrm>
            <a:off x="9248839" y="5730677"/>
            <a:ext cx="2532888" cy="86177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1000" i="1" dirty="0"/>
              <a:t>Q1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Jan– 31</a:t>
            </a:r>
            <a:r>
              <a:rPr lang="en-US" sz="1000" i="1" baseline="30000" dirty="0"/>
              <a:t>th</a:t>
            </a:r>
            <a:r>
              <a:rPr lang="en-US" sz="1000" i="1" dirty="0"/>
              <a:t> March (90 days)</a:t>
            </a:r>
          </a:p>
          <a:p>
            <a:r>
              <a:rPr lang="en-US" sz="1000" i="1" dirty="0"/>
              <a:t>Q2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Apr – 30</a:t>
            </a:r>
            <a:r>
              <a:rPr lang="en-US" sz="1000" i="1" baseline="30000" dirty="0"/>
              <a:t>th</a:t>
            </a:r>
            <a:r>
              <a:rPr lang="en-US" sz="1000" i="1" dirty="0"/>
              <a:t> June (90 days)</a:t>
            </a:r>
          </a:p>
          <a:p>
            <a:r>
              <a:rPr lang="en-US" sz="1000" i="1" dirty="0"/>
              <a:t>Q3’2020 – 1st July – 30</a:t>
            </a:r>
            <a:r>
              <a:rPr lang="en-US" sz="1000" i="1" baseline="30000" dirty="0"/>
              <a:t>th</a:t>
            </a:r>
            <a:r>
              <a:rPr lang="en-US" sz="1000" i="1" dirty="0"/>
              <a:t> Sep (91 days)</a:t>
            </a:r>
          </a:p>
          <a:p>
            <a:r>
              <a:rPr lang="en-US" sz="1000" i="1" dirty="0"/>
              <a:t>01-Nov-19 – 30-Apr-20 ( 181 days)</a:t>
            </a:r>
          </a:p>
          <a:p>
            <a:r>
              <a:rPr lang="en-US" sz="1000" i="1" dirty="0"/>
              <a:t>01-May-20 – 30-Oct-20 ( 182 days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C15BC3F-22D9-43E1-81DE-166BAC7314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6938244"/>
              </p:ext>
            </p:extLst>
          </p:nvPr>
        </p:nvGraphicFramePr>
        <p:xfrm>
          <a:off x="7177881" y="152400"/>
          <a:ext cx="3505200" cy="1219200"/>
        </p:xfrm>
        <a:graphic>
          <a:graphicData uri="http://schemas.openxmlformats.org/drawingml/2006/table">
            <a:tbl>
              <a:tblPr/>
              <a:tblGrid>
                <a:gridCol w="951093">
                  <a:extLst>
                    <a:ext uri="{9D8B030D-6E8A-4147-A177-3AD203B41FA5}">
                      <a16:colId xmlns:a16="http://schemas.microsoft.com/office/drawing/2014/main" val="3499266519"/>
                    </a:ext>
                  </a:extLst>
                </a:gridCol>
                <a:gridCol w="1696785">
                  <a:extLst>
                    <a:ext uri="{9D8B030D-6E8A-4147-A177-3AD203B41FA5}">
                      <a16:colId xmlns:a16="http://schemas.microsoft.com/office/drawing/2014/main" val="3440363132"/>
                    </a:ext>
                  </a:extLst>
                </a:gridCol>
                <a:gridCol w="857322">
                  <a:extLst>
                    <a:ext uri="{9D8B030D-6E8A-4147-A177-3AD203B41FA5}">
                      <a16:colId xmlns:a16="http://schemas.microsoft.com/office/drawing/2014/main" val="4024459325"/>
                    </a:ext>
                  </a:extLst>
                </a:gridCol>
              </a:tblGrid>
              <a:tr h="14623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eekday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evenue (% Share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 Shar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6868749"/>
                  </a:ext>
                </a:extLst>
              </a:tr>
              <a:tr h="14623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%</a:t>
                      </a:r>
                    </a:p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Weekdays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2977853"/>
                  </a:ext>
                </a:extLst>
              </a:tr>
              <a:tr h="14623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U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4000943"/>
                  </a:ext>
                </a:extLst>
              </a:tr>
              <a:tr h="14623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4798446"/>
                  </a:ext>
                </a:extLst>
              </a:tr>
              <a:tr h="14623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U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4231121"/>
                  </a:ext>
                </a:extLst>
              </a:tr>
              <a:tr h="14623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% </a:t>
                      </a:r>
                    </a:p>
                    <a:p>
                      <a:pPr algn="ctr" fontAlgn="ctr"/>
                      <a:r>
                        <a:rPr lang="en-I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Weekend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8321154"/>
                  </a:ext>
                </a:extLst>
              </a:tr>
              <a:tr h="14623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4075240"/>
                  </a:ext>
                </a:extLst>
              </a:tr>
              <a:tr h="14623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167911"/>
                  </a:ext>
                </a:extLst>
              </a:tr>
            </a:tbl>
          </a:graphicData>
        </a:graphic>
      </p:graphicFrame>
      <p:sp>
        <p:nvSpPr>
          <p:cNvPr id="6" name="Speech Bubble: Oval 5">
            <a:extLst>
              <a:ext uri="{FF2B5EF4-FFF2-40B4-BE49-F238E27FC236}">
                <a16:creationId xmlns:a16="http://schemas.microsoft.com/office/drawing/2014/main" id="{C0DADE93-2B05-4926-9130-920C0E47B15E}"/>
              </a:ext>
            </a:extLst>
          </p:cNvPr>
          <p:cNvSpPr/>
          <p:nvPr/>
        </p:nvSpPr>
        <p:spPr>
          <a:xfrm>
            <a:off x="4510881" y="457200"/>
            <a:ext cx="2057400" cy="914400"/>
          </a:xfrm>
          <a:prstGeom prst="wedgeEllipseCallout">
            <a:avLst>
              <a:gd name="adj1" fmla="val 56945"/>
              <a:gd name="adj2" fmla="val 102206"/>
            </a:avLst>
          </a:prstGeom>
          <a:ln w="127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9" name="Speech Bubble: Oval 18">
            <a:extLst>
              <a:ext uri="{FF2B5EF4-FFF2-40B4-BE49-F238E27FC236}">
                <a16:creationId xmlns:a16="http://schemas.microsoft.com/office/drawing/2014/main" id="{663E7815-5A9C-4027-8BF3-28513464F3BC}"/>
              </a:ext>
            </a:extLst>
          </p:cNvPr>
          <p:cNvSpPr/>
          <p:nvPr/>
        </p:nvSpPr>
        <p:spPr>
          <a:xfrm>
            <a:off x="4510881" y="457200"/>
            <a:ext cx="2057400" cy="914400"/>
          </a:xfrm>
          <a:prstGeom prst="wedgeEllipseCallout">
            <a:avLst>
              <a:gd name="adj1" fmla="val 37337"/>
              <a:gd name="adj2" fmla="val 112500"/>
            </a:avLst>
          </a:prstGeom>
          <a:ln w="127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Speech Bubble: Oval 20">
            <a:extLst>
              <a:ext uri="{FF2B5EF4-FFF2-40B4-BE49-F238E27FC236}">
                <a16:creationId xmlns:a16="http://schemas.microsoft.com/office/drawing/2014/main" id="{A956A112-FC25-454D-8EF6-FA3C173B3BD0}"/>
              </a:ext>
            </a:extLst>
          </p:cNvPr>
          <p:cNvSpPr/>
          <p:nvPr/>
        </p:nvSpPr>
        <p:spPr>
          <a:xfrm>
            <a:off x="4510881" y="457200"/>
            <a:ext cx="2057400" cy="914400"/>
          </a:xfrm>
          <a:prstGeom prst="wedgeEllipseCallout">
            <a:avLst>
              <a:gd name="adj1" fmla="val -18219"/>
              <a:gd name="adj2" fmla="val 196324"/>
            </a:avLst>
          </a:prstGeom>
          <a:ln w="127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200" dirty="0"/>
              <a:t>Spike in revenue observed on Fridays</a:t>
            </a:r>
          </a:p>
        </p:txBody>
      </p:sp>
    </p:spTree>
    <p:extLst>
      <p:ext uri="{BB962C8B-B14F-4D97-AF65-F5344CB8AC3E}">
        <p14:creationId xmlns:p14="http://schemas.microsoft.com/office/powerpoint/2010/main" val="35207945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AA449-04C4-4791-9AF4-D540B7BBB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of Apps Installed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48E9C5-8E2C-4413-B467-DFCC716F84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1DAEAD-9804-41A9-9F0D-7CEBD20D5D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D7C33F-D9AD-430F-B970-8507884B06DD}"/>
              </a:ext>
            </a:extLst>
          </p:cNvPr>
          <p:cNvSpPr txBox="1"/>
          <p:nvPr/>
        </p:nvSpPr>
        <p:spPr>
          <a:xfrm>
            <a:off x="254569" y="6346230"/>
            <a:ext cx="6052456" cy="24622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IN" sz="1000" dirty="0"/>
              <a:t>Source: </a:t>
            </a:r>
            <a:r>
              <a:rPr lang="en-IN" sz="1000" dirty="0" err="1"/>
              <a:t>Yotta</a:t>
            </a:r>
            <a:r>
              <a:rPr lang="en-IN" sz="1000" dirty="0"/>
              <a:t> Games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6527CC5C-A017-4E8D-B9C3-6CF6E32949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2816878"/>
              </p:ext>
            </p:extLst>
          </p:nvPr>
        </p:nvGraphicFramePr>
        <p:xfrm>
          <a:off x="242889" y="1235075"/>
          <a:ext cx="11504612" cy="356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Table 5">
            <a:extLst>
              <a:ext uri="{FF2B5EF4-FFF2-40B4-BE49-F238E27FC236}">
                <a16:creationId xmlns:a16="http://schemas.microsoft.com/office/drawing/2014/main" id="{ACC7159C-815A-41C2-A946-40460BE567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5437143"/>
              </p:ext>
            </p:extLst>
          </p:nvPr>
        </p:nvGraphicFramePr>
        <p:xfrm>
          <a:off x="990599" y="4727575"/>
          <a:ext cx="10756902" cy="7315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792817">
                  <a:extLst>
                    <a:ext uri="{9D8B030D-6E8A-4147-A177-3AD203B41FA5}">
                      <a16:colId xmlns:a16="http://schemas.microsoft.com/office/drawing/2014/main" val="2527033448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344138687"/>
                    </a:ext>
                  </a:extLst>
                </a:gridCol>
                <a:gridCol w="1792817">
                  <a:extLst>
                    <a:ext uri="{9D8B030D-6E8A-4147-A177-3AD203B41FA5}">
                      <a16:colId xmlns:a16="http://schemas.microsoft.com/office/drawing/2014/main" val="1439520298"/>
                    </a:ext>
                  </a:extLst>
                </a:gridCol>
              </a:tblGrid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KPI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1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2’ 202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/>
                        <a:t>Q3’2020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 19 – APR 20</a:t>
                      </a:r>
                    </a:p>
                  </a:txBody>
                  <a:tcPr marL="9335" marR="9335" marT="93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 20 – OCT 20</a:t>
                      </a:r>
                    </a:p>
                  </a:txBody>
                  <a:tcPr marL="9335" marR="9335" marT="933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Revenue(MM USD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1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8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267397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algn="ctr"/>
                      <a:r>
                        <a:rPr lang="en-GB" sz="1000" dirty="0">
                          <a:latin typeface="+mn-lt"/>
                        </a:rPr>
                        <a:t>Apps Installed(MM)</a:t>
                      </a:r>
                      <a:endParaRPr lang="en-IN" sz="1000" dirty="0"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7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405432"/>
                  </a:ext>
                </a:extLst>
              </a:tr>
            </a:tbl>
          </a:graphicData>
        </a:graphic>
      </p:graphicFrame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1AED81A-089E-48CE-9B66-249B986E65FB}"/>
              </a:ext>
            </a:extLst>
          </p:cNvPr>
          <p:cNvSpPr/>
          <p:nvPr/>
        </p:nvSpPr>
        <p:spPr>
          <a:xfrm>
            <a:off x="4236561" y="500141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07.4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53BF07C-15F7-45AC-BB39-2BF4338F7A33}"/>
              </a:ext>
            </a:extLst>
          </p:cNvPr>
          <p:cNvSpPr/>
          <p:nvPr/>
        </p:nvSpPr>
        <p:spPr>
          <a:xfrm>
            <a:off x="9650571" y="500141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27.6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1CC183A-D0D9-4854-9680-9CE09BE0C9EB}"/>
              </a:ext>
            </a:extLst>
          </p:cNvPr>
          <p:cNvSpPr/>
          <p:nvPr/>
        </p:nvSpPr>
        <p:spPr>
          <a:xfrm>
            <a:off x="6034881" y="5001418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6.7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D2469A5-5FFD-4092-8574-D577471512AC}"/>
              </a:ext>
            </a:extLst>
          </p:cNvPr>
          <p:cNvSpPr/>
          <p:nvPr/>
        </p:nvSpPr>
        <p:spPr>
          <a:xfrm>
            <a:off x="4236561" y="523462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96.2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8CC94C49-DA89-4D58-9ED2-A4A26DF2D4EF}"/>
              </a:ext>
            </a:extLst>
          </p:cNvPr>
          <p:cNvSpPr/>
          <p:nvPr/>
        </p:nvSpPr>
        <p:spPr>
          <a:xfrm>
            <a:off x="9650571" y="523462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10.6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AA18B8DB-30C7-4263-8EA9-E34C684F0FCB}"/>
              </a:ext>
            </a:extLst>
          </p:cNvPr>
          <p:cNvSpPr/>
          <p:nvPr/>
        </p:nvSpPr>
        <p:spPr>
          <a:xfrm>
            <a:off x="6034881" y="5234621"/>
            <a:ext cx="640080" cy="182880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15.4%</a:t>
            </a:r>
            <a:endParaRPr lang="en-IN" sz="1000" b="1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2C76C0A-D19E-4964-BECF-F51F29E19FFB}"/>
              </a:ext>
            </a:extLst>
          </p:cNvPr>
          <p:cNvSpPr txBox="1"/>
          <p:nvPr/>
        </p:nvSpPr>
        <p:spPr>
          <a:xfrm>
            <a:off x="9454356" y="1457325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 i="1" dirty="0">
                <a:solidFill>
                  <a:srgbClr val="C00000"/>
                </a:solidFill>
              </a:rPr>
              <a:t>Correlation – 81.4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83B74EB-9059-4F48-BEBE-644F76A8922F}"/>
              </a:ext>
            </a:extLst>
          </p:cNvPr>
          <p:cNvSpPr txBox="1"/>
          <p:nvPr/>
        </p:nvSpPr>
        <p:spPr>
          <a:xfrm>
            <a:off x="9248839" y="5730677"/>
            <a:ext cx="2532888" cy="86177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r>
              <a:rPr lang="en-US" sz="1000" i="1" dirty="0"/>
              <a:t>Q1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Jan– 31</a:t>
            </a:r>
            <a:r>
              <a:rPr lang="en-US" sz="1000" i="1" baseline="30000" dirty="0"/>
              <a:t>th</a:t>
            </a:r>
            <a:r>
              <a:rPr lang="en-US" sz="1000" i="1" dirty="0"/>
              <a:t> March (90 days)</a:t>
            </a:r>
          </a:p>
          <a:p>
            <a:r>
              <a:rPr lang="en-US" sz="1000" i="1" dirty="0"/>
              <a:t>Q2’2020 – 1</a:t>
            </a:r>
            <a:r>
              <a:rPr lang="en-US" sz="1000" i="1" baseline="30000" dirty="0"/>
              <a:t>st</a:t>
            </a:r>
            <a:r>
              <a:rPr lang="en-US" sz="1000" i="1" dirty="0"/>
              <a:t> Apr – 30</a:t>
            </a:r>
            <a:r>
              <a:rPr lang="en-US" sz="1000" i="1" baseline="30000" dirty="0"/>
              <a:t>th</a:t>
            </a:r>
            <a:r>
              <a:rPr lang="en-US" sz="1000" i="1" dirty="0"/>
              <a:t> June (90 days)</a:t>
            </a:r>
          </a:p>
          <a:p>
            <a:r>
              <a:rPr lang="en-US" sz="1000" i="1" dirty="0"/>
              <a:t>Q3’2020 – 1st July – 30</a:t>
            </a:r>
            <a:r>
              <a:rPr lang="en-US" sz="1000" i="1" baseline="30000" dirty="0"/>
              <a:t>th</a:t>
            </a:r>
            <a:r>
              <a:rPr lang="en-US" sz="1000" i="1" dirty="0"/>
              <a:t> Sep (91 days)</a:t>
            </a:r>
          </a:p>
          <a:p>
            <a:r>
              <a:rPr lang="en-US" sz="1000" i="1" dirty="0"/>
              <a:t>01-Nov-19 – 30-Apr-20 ( 181 days)</a:t>
            </a:r>
          </a:p>
          <a:p>
            <a:r>
              <a:rPr lang="en-US" sz="1000" i="1" dirty="0"/>
              <a:t>01-May-20 – 30-Oct-20 ( 182 days)</a:t>
            </a:r>
          </a:p>
        </p:txBody>
      </p:sp>
      <p:sp>
        <p:nvSpPr>
          <p:cNvPr id="5" name="Speech Bubble: Oval 4">
            <a:extLst>
              <a:ext uri="{FF2B5EF4-FFF2-40B4-BE49-F238E27FC236}">
                <a16:creationId xmlns:a16="http://schemas.microsoft.com/office/drawing/2014/main" id="{6D54BCD7-FED8-476B-8973-8585CDBF3C71}"/>
              </a:ext>
            </a:extLst>
          </p:cNvPr>
          <p:cNvSpPr/>
          <p:nvPr/>
        </p:nvSpPr>
        <p:spPr>
          <a:xfrm>
            <a:off x="1920081" y="1295400"/>
            <a:ext cx="3124200" cy="1219200"/>
          </a:xfrm>
          <a:prstGeom prst="wedgeEllipseCallou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tx1"/>
                </a:solidFill>
              </a:rPr>
              <a:t>Can we have the split of Total revenue into “</a:t>
            </a:r>
            <a:r>
              <a:rPr lang="en-IN" sz="1200" b="1" dirty="0">
                <a:solidFill>
                  <a:schemeClr val="tx1"/>
                </a:solidFill>
              </a:rPr>
              <a:t>In App Purchase</a:t>
            </a:r>
            <a:r>
              <a:rPr lang="en-IN" sz="1200" dirty="0">
                <a:solidFill>
                  <a:schemeClr val="tx1"/>
                </a:solidFill>
              </a:rPr>
              <a:t>”, and “</a:t>
            </a:r>
            <a:r>
              <a:rPr lang="en-IN" sz="1200" b="1" dirty="0">
                <a:solidFill>
                  <a:schemeClr val="tx1"/>
                </a:solidFill>
              </a:rPr>
              <a:t>In App Advertisement” </a:t>
            </a:r>
            <a:r>
              <a:rPr lang="en-IN" sz="1200" dirty="0">
                <a:solidFill>
                  <a:schemeClr val="tx1"/>
                </a:solidFill>
              </a:rPr>
              <a:t>revenue?</a:t>
            </a:r>
          </a:p>
        </p:txBody>
      </p:sp>
    </p:spTree>
    <p:extLst>
      <p:ext uri="{BB962C8B-B14F-4D97-AF65-F5344CB8AC3E}">
        <p14:creationId xmlns:p14="http://schemas.microsoft.com/office/powerpoint/2010/main" val="23677043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FFA7B0-B3F8-4715-80C5-D0BCE5408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143BD-DDDC-4030-AFD1-D2DD3F00D3BF}" type="slidenum">
              <a:rPr lang="en-IN" smtClean="0"/>
              <a:pPr/>
              <a:t>6</a:t>
            </a:fld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3B7CC7-3EF4-4A9D-B97F-77BBC74D5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9FAAC6-E14C-4FE6-9ADB-91671C060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© Analytic Edge Proprietary and Confidential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47054646-5DB8-4994-B441-D8C593466F06}"/>
              </a:ext>
            </a:extLst>
          </p:cNvPr>
          <p:cNvSpPr txBox="1">
            <a:spLocks/>
          </p:cNvSpPr>
          <p:nvPr/>
        </p:nvSpPr>
        <p:spPr>
          <a:xfrm>
            <a:off x="-1" y="0"/>
            <a:ext cx="12069763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4400" dirty="0"/>
              <a:t>Digital Media</a:t>
            </a:r>
            <a:endParaRPr lang="en-IN" sz="4400" dirty="0"/>
          </a:p>
        </p:txBody>
      </p:sp>
    </p:spTree>
    <p:extLst>
      <p:ext uri="{BB962C8B-B14F-4D97-AF65-F5344CB8AC3E}">
        <p14:creationId xmlns:p14="http://schemas.microsoft.com/office/powerpoint/2010/main" val="21922810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0CE092-7EEB-4955-B85E-0DB5EE2CF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IN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51DBB1-6DD0-457D-A489-1D1CEFABC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81" y="152400"/>
            <a:ext cx="10862787" cy="781994"/>
          </a:xfrm>
        </p:spPr>
        <p:txBody>
          <a:bodyPr/>
          <a:lstStyle/>
          <a:p>
            <a:r>
              <a:rPr lang="en-US" dirty="0"/>
              <a:t>Digital media execution summary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8CCC11-2600-4FA6-AEC5-711A56F4C7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0A569169-C881-4455-B60A-FFDBB73A73B3}"/>
              </a:ext>
            </a:extLst>
          </p:cNvPr>
          <p:cNvGraphicFramePr/>
          <p:nvPr/>
        </p:nvGraphicFramePr>
        <p:xfrm>
          <a:off x="1559496" y="4490561"/>
          <a:ext cx="10261140" cy="1605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CD39BCD9-F236-4F37-836F-917508FB8C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87283509"/>
              </p:ext>
            </p:extLst>
          </p:nvPr>
        </p:nvGraphicFramePr>
        <p:xfrm>
          <a:off x="1707053" y="838200"/>
          <a:ext cx="9966250" cy="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CFDF345D-4D8A-4E27-8BD0-578155E8C90B}"/>
              </a:ext>
            </a:extLst>
          </p:cNvPr>
          <p:cNvGraphicFramePr/>
          <p:nvPr/>
        </p:nvGraphicFramePr>
        <p:xfrm>
          <a:off x="1722210" y="1465727"/>
          <a:ext cx="9966250" cy="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5ACED100-8321-4A2F-9A1D-4AE56A0DD844}"/>
              </a:ext>
            </a:extLst>
          </p:cNvPr>
          <p:cNvGraphicFramePr/>
          <p:nvPr/>
        </p:nvGraphicFramePr>
        <p:xfrm>
          <a:off x="1737367" y="2151655"/>
          <a:ext cx="9966250" cy="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8FDFDA24-1BA9-4125-807A-A0B83AB9D493}"/>
              </a:ext>
            </a:extLst>
          </p:cNvPr>
          <p:cNvGraphicFramePr/>
          <p:nvPr/>
        </p:nvGraphicFramePr>
        <p:xfrm>
          <a:off x="1752524" y="2847709"/>
          <a:ext cx="9966250" cy="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F5259D85-B57F-4649-A679-054499562A38}"/>
              </a:ext>
            </a:extLst>
          </p:cNvPr>
          <p:cNvGraphicFramePr/>
          <p:nvPr/>
        </p:nvGraphicFramePr>
        <p:xfrm>
          <a:off x="1752524" y="3543635"/>
          <a:ext cx="9966250" cy="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BCABC867-8AE7-43F9-B400-3D4C9BD6BED7}"/>
              </a:ext>
            </a:extLst>
          </p:cNvPr>
          <p:cNvGraphicFramePr/>
          <p:nvPr/>
        </p:nvGraphicFramePr>
        <p:xfrm>
          <a:off x="1767681" y="4259941"/>
          <a:ext cx="9966250" cy="76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72DD39ED-701E-4CD3-BDD4-5ED7D7B8E416}"/>
              </a:ext>
            </a:extLst>
          </p:cNvPr>
          <p:cNvGraphicFramePr/>
          <p:nvPr/>
        </p:nvGraphicFramePr>
        <p:xfrm>
          <a:off x="1767681" y="4871561"/>
          <a:ext cx="9966250" cy="1605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387B574E-A08A-4FAF-A2CF-44B885770C74}"/>
              </a:ext>
            </a:extLst>
          </p:cNvPr>
          <p:cNvSpPr/>
          <p:nvPr/>
        </p:nvSpPr>
        <p:spPr>
          <a:xfrm>
            <a:off x="344840" y="1240902"/>
            <a:ext cx="124694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200" b="1" dirty="0">
                <a:solidFill>
                  <a:srgbClr val="FF0000"/>
                </a:solidFill>
              </a:rPr>
              <a:t>Display Network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79EB1F7-8AE7-4E67-BA38-332A42DE74D9}"/>
              </a:ext>
            </a:extLst>
          </p:cNvPr>
          <p:cNvSpPr/>
          <p:nvPr/>
        </p:nvSpPr>
        <p:spPr>
          <a:xfrm>
            <a:off x="344840" y="1844495"/>
            <a:ext cx="7911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200" b="1" dirty="0">
                <a:solidFill>
                  <a:srgbClr val="C00000"/>
                </a:solidFill>
              </a:rPr>
              <a:t>Facebook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987F954-B8FA-4368-8EBC-1663234313AD}"/>
              </a:ext>
            </a:extLst>
          </p:cNvPr>
          <p:cNvSpPr/>
          <p:nvPr/>
        </p:nvSpPr>
        <p:spPr>
          <a:xfrm>
            <a:off x="344840" y="3328680"/>
            <a:ext cx="135851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200" b="1" dirty="0">
                <a:solidFill>
                  <a:srgbClr val="54976C"/>
                </a:solidFill>
              </a:rPr>
              <a:t>Non Social Display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5054995-84B5-47C5-AAF1-041A4DFFC0CE}"/>
              </a:ext>
            </a:extLst>
          </p:cNvPr>
          <p:cNvSpPr/>
          <p:nvPr/>
        </p:nvSpPr>
        <p:spPr>
          <a:xfrm>
            <a:off x="344840" y="3932273"/>
            <a:ext cx="109780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200" b="1" dirty="0">
                <a:solidFill>
                  <a:srgbClr val="002060"/>
                </a:solidFill>
              </a:rPr>
              <a:t>Google Search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4C3681B-79F9-4D38-B6FB-DEC32999E6DB}"/>
              </a:ext>
            </a:extLst>
          </p:cNvPr>
          <p:cNvSpPr/>
          <p:nvPr/>
        </p:nvSpPr>
        <p:spPr>
          <a:xfrm>
            <a:off x="344840" y="4628199"/>
            <a:ext cx="101925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200" b="1" dirty="0">
                <a:solidFill>
                  <a:srgbClr val="0070C0"/>
                </a:solidFill>
              </a:rPr>
              <a:t>Apple Search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D0E3901-7581-4581-B782-AA015877D3DA}"/>
              </a:ext>
            </a:extLst>
          </p:cNvPr>
          <p:cNvSpPr/>
          <p:nvPr/>
        </p:nvSpPr>
        <p:spPr>
          <a:xfrm>
            <a:off x="344840" y="2540421"/>
            <a:ext cx="73186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200" b="1" dirty="0">
                <a:solidFill>
                  <a:srgbClr val="7030A0"/>
                </a:solidFill>
              </a:rPr>
              <a:t>YouTub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59070EB-7401-49B2-B3F6-2F9B614C9016}"/>
              </a:ext>
            </a:extLst>
          </p:cNvPr>
          <p:cNvSpPr/>
          <p:nvPr/>
        </p:nvSpPr>
        <p:spPr>
          <a:xfrm>
            <a:off x="344840" y="5324122"/>
            <a:ext cx="12682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200" b="1" dirty="0">
                <a:solidFill>
                  <a:schemeClr val="accent6"/>
                </a:solidFill>
              </a:rPr>
              <a:t>Non Social Video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016631-16C6-4E7E-896B-83E63D1F5E68}"/>
              </a:ext>
            </a:extLst>
          </p:cNvPr>
          <p:cNvCxnSpPr>
            <a:cxnSpLocks/>
          </p:cNvCxnSpPr>
          <p:nvPr/>
        </p:nvCxnSpPr>
        <p:spPr>
          <a:xfrm>
            <a:off x="4689785" y="1143000"/>
            <a:ext cx="0" cy="426720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peech Bubble: Oval 20">
            <a:extLst>
              <a:ext uri="{FF2B5EF4-FFF2-40B4-BE49-F238E27FC236}">
                <a16:creationId xmlns:a16="http://schemas.microsoft.com/office/drawing/2014/main" id="{36BAEA6A-44A4-4AC5-AF00-776431EB734D}"/>
              </a:ext>
            </a:extLst>
          </p:cNvPr>
          <p:cNvSpPr/>
          <p:nvPr/>
        </p:nvSpPr>
        <p:spPr>
          <a:xfrm>
            <a:off x="6720681" y="44824"/>
            <a:ext cx="3124200" cy="1250576"/>
          </a:xfrm>
          <a:prstGeom prst="wedgeEllipseCallout">
            <a:avLst>
              <a:gd name="adj1" fmla="val -113803"/>
              <a:gd name="adj2" fmla="val 36029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>
                <a:solidFill>
                  <a:schemeClr val="tx1"/>
                </a:solidFill>
              </a:rPr>
              <a:t>Even though the Game was launched world wide in April 2018 majority of the media executed after 15</a:t>
            </a:r>
            <a:r>
              <a:rPr lang="en-IN" sz="1200" baseline="30000" dirty="0">
                <a:solidFill>
                  <a:schemeClr val="tx1"/>
                </a:solidFill>
              </a:rPr>
              <a:t>th</a:t>
            </a:r>
            <a:r>
              <a:rPr lang="en-IN" sz="1200" dirty="0">
                <a:solidFill>
                  <a:schemeClr val="tx1"/>
                </a:solidFill>
              </a:rPr>
              <a:t> February 2020. Was there any specific reason?</a:t>
            </a:r>
          </a:p>
        </p:txBody>
      </p:sp>
    </p:spTree>
    <p:extLst>
      <p:ext uri="{BB962C8B-B14F-4D97-AF65-F5344CB8AC3E}">
        <p14:creationId xmlns:p14="http://schemas.microsoft.com/office/powerpoint/2010/main" val="13002844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0CE092-7EEB-4955-B85E-0DB5EE2CF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IN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51DBB1-6DD0-457D-A489-1D1CEFABC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4340" y="228600"/>
            <a:ext cx="10862787" cy="781994"/>
          </a:xfrm>
        </p:spPr>
        <p:txBody>
          <a:bodyPr/>
          <a:lstStyle/>
          <a:p>
            <a:r>
              <a:rPr lang="en-US" dirty="0"/>
              <a:t>Facebook by campaign objective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8CCC11-2600-4FA6-AEC5-711A56F4C7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9C92AC1-4D46-46D5-8C91-E566F062A621}"/>
              </a:ext>
            </a:extLst>
          </p:cNvPr>
          <p:cNvSpPr txBox="1"/>
          <p:nvPr/>
        </p:nvSpPr>
        <p:spPr>
          <a:xfrm>
            <a:off x="-1" y="6229290"/>
            <a:ext cx="21486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/>
              <a:t>CPM – Cost per 1000 Impressions</a:t>
            </a:r>
            <a:br>
              <a:rPr lang="en-IN" sz="1000" dirty="0"/>
            </a:br>
            <a:endParaRPr lang="en-IN" sz="1000" dirty="0"/>
          </a:p>
        </p:txBody>
      </p:sp>
      <p:pic>
        <p:nvPicPr>
          <p:cNvPr id="14" name="Picture 6" descr="Facebook logo and symbol, meaning, history, PNG">
            <a:extLst>
              <a:ext uri="{FF2B5EF4-FFF2-40B4-BE49-F238E27FC236}">
                <a16:creationId xmlns:a16="http://schemas.microsoft.com/office/drawing/2014/main" id="{3CCB01E2-5312-4B7B-9737-CF71EC78E0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796" y="180590"/>
            <a:ext cx="1220180" cy="854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723EE34-F7D2-47A1-A8E3-473A6F810432}"/>
              </a:ext>
            </a:extLst>
          </p:cNvPr>
          <p:cNvSpPr txBox="1"/>
          <p:nvPr/>
        </p:nvSpPr>
        <p:spPr>
          <a:xfrm>
            <a:off x="24046" y="6373906"/>
            <a:ext cx="228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/>
              <a:t>Source: Facebook MMM UI </a:t>
            </a:r>
            <a:br>
              <a:rPr lang="en-IN" sz="1000" dirty="0"/>
            </a:br>
            <a:endParaRPr lang="en-IN" sz="1000" dirty="0"/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E8BCBEF2-5494-48A0-ACBE-1F420EA5D5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0989617"/>
              </p:ext>
            </p:extLst>
          </p:nvPr>
        </p:nvGraphicFramePr>
        <p:xfrm>
          <a:off x="242889" y="1235075"/>
          <a:ext cx="11504612" cy="356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4C684A8-D223-492F-B4FA-4D8D4D099365}"/>
              </a:ext>
            </a:extLst>
          </p:cNvPr>
          <p:cNvSpPr txBox="1"/>
          <p:nvPr/>
        </p:nvSpPr>
        <p:spPr>
          <a:xfrm>
            <a:off x="8381999" y="6426116"/>
            <a:ext cx="45870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50" dirty="0"/>
              <a:t>* “Others” = Campaign for which Buying objectives not specified</a:t>
            </a:r>
          </a:p>
        </p:txBody>
      </p:sp>
      <p:graphicFrame>
        <p:nvGraphicFramePr>
          <p:cNvPr id="12" name="Table 5">
            <a:extLst>
              <a:ext uri="{FF2B5EF4-FFF2-40B4-BE49-F238E27FC236}">
                <a16:creationId xmlns:a16="http://schemas.microsoft.com/office/drawing/2014/main" id="{A4EA484B-D6D9-4759-8DD6-0C55C4EDC8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048116"/>
              </p:ext>
            </p:extLst>
          </p:nvPr>
        </p:nvGraphicFramePr>
        <p:xfrm>
          <a:off x="2453481" y="4857564"/>
          <a:ext cx="7696200" cy="1390836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354131">
                  <a:extLst>
                    <a:ext uri="{9D8B030D-6E8A-4147-A177-3AD203B41FA5}">
                      <a16:colId xmlns:a16="http://schemas.microsoft.com/office/drawing/2014/main" val="1298981724"/>
                    </a:ext>
                  </a:extLst>
                </a:gridCol>
                <a:gridCol w="1493969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1924050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1924050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</a:tblGrid>
              <a:tr h="322096">
                <a:tc>
                  <a:txBody>
                    <a:bodyPr/>
                    <a:lstStyle/>
                    <a:p>
                      <a:pPr algn="ctr"/>
                      <a:r>
                        <a:rPr lang="en-IN" sz="1350" dirty="0"/>
                        <a:t>Objecti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350" dirty="0"/>
                        <a:t>Impressions (MM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350" dirty="0"/>
                        <a:t>Spends (US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350" dirty="0"/>
                        <a:t>CPM (USD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213748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 Event Optimization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228,372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9752892"/>
                  </a:ext>
                </a:extLst>
              </a:tr>
              <a:tr h="213748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OAS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.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646,640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8501422"/>
                  </a:ext>
                </a:extLst>
              </a:tr>
              <a:tr h="213748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</a:t>
                      </a:r>
                      <a:r>
                        <a:rPr lang="en-IN" sz="12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bile</a:t>
                      </a:r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App Installs</a:t>
                      </a: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2</a:t>
                      </a:r>
                      <a:endParaRPr lang="en-IN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65,736 </a:t>
                      </a: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4</a:t>
                      </a: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735755"/>
                  </a:ext>
                </a:extLst>
              </a:tr>
              <a:tr h="213748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thers</a:t>
                      </a:r>
                      <a:endParaRPr lang="en-IN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8</a:t>
                      </a:r>
                      <a:endParaRPr lang="en-IN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25,79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211361"/>
                  </a:ext>
                </a:extLst>
              </a:tr>
              <a:tr h="213748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966,5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1430525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A3767FE2-8816-4067-8D4A-B2BF7F6871DF}"/>
              </a:ext>
            </a:extLst>
          </p:cNvPr>
          <p:cNvSpPr txBox="1"/>
          <p:nvPr/>
        </p:nvSpPr>
        <p:spPr>
          <a:xfrm>
            <a:off x="8381999" y="6248400"/>
            <a:ext cx="45870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50" dirty="0"/>
              <a:t>ROAS = Return on ad spending</a:t>
            </a:r>
          </a:p>
        </p:txBody>
      </p:sp>
    </p:spTree>
    <p:extLst>
      <p:ext uri="{BB962C8B-B14F-4D97-AF65-F5344CB8AC3E}">
        <p14:creationId xmlns:p14="http://schemas.microsoft.com/office/powerpoint/2010/main" val="10609151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0CE092-7EEB-4955-B85E-0DB5EE2CF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43BD-DDDC-4030-AFD1-D2DD3F00D3BF}" type="slidenum">
              <a:rPr kumimoji="0" lang="en-IN" sz="800" b="0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IN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51DBB1-6DD0-457D-A489-1D1CEFABC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4340" y="228600"/>
            <a:ext cx="10862787" cy="781994"/>
          </a:xfrm>
        </p:spPr>
        <p:txBody>
          <a:bodyPr/>
          <a:lstStyle/>
          <a:p>
            <a:r>
              <a:rPr lang="en-US" dirty="0"/>
              <a:t>Facebook by Operating System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8CCC11-2600-4FA6-AEC5-711A56F4C7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Analytic Edge Proprietary and Confidential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9C92AC1-4D46-46D5-8C91-E566F062A621}"/>
              </a:ext>
            </a:extLst>
          </p:cNvPr>
          <p:cNvSpPr txBox="1"/>
          <p:nvPr/>
        </p:nvSpPr>
        <p:spPr>
          <a:xfrm>
            <a:off x="-1" y="6229290"/>
            <a:ext cx="21486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/>
              <a:t>CPM – Cost per 1000 Impressions</a:t>
            </a:r>
            <a:br>
              <a:rPr lang="en-IN" sz="1000" dirty="0"/>
            </a:br>
            <a:endParaRPr lang="en-IN" sz="1000" dirty="0"/>
          </a:p>
        </p:txBody>
      </p:sp>
      <p:pic>
        <p:nvPicPr>
          <p:cNvPr id="14" name="Picture 6" descr="Facebook logo and symbol, meaning, history, PNG">
            <a:extLst>
              <a:ext uri="{FF2B5EF4-FFF2-40B4-BE49-F238E27FC236}">
                <a16:creationId xmlns:a16="http://schemas.microsoft.com/office/drawing/2014/main" id="{3CCB01E2-5312-4B7B-9737-CF71EC78E0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796" y="180590"/>
            <a:ext cx="1220180" cy="854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723EE34-F7D2-47A1-A8E3-473A6F810432}"/>
              </a:ext>
            </a:extLst>
          </p:cNvPr>
          <p:cNvSpPr txBox="1"/>
          <p:nvPr/>
        </p:nvSpPr>
        <p:spPr>
          <a:xfrm>
            <a:off x="24046" y="6373906"/>
            <a:ext cx="228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00" dirty="0"/>
              <a:t>Source: Facebook MMM UI </a:t>
            </a:r>
            <a:br>
              <a:rPr lang="en-IN" sz="1000" dirty="0"/>
            </a:br>
            <a:endParaRPr lang="en-IN" sz="1000" dirty="0"/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E8BCBEF2-5494-48A0-ACBE-1F420EA5D5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3618989"/>
              </p:ext>
            </p:extLst>
          </p:nvPr>
        </p:nvGraphicFramePr>
        <p:xfrm>
          <a:off x="242889" y="1235075"/>
          <a:ext cx="11504612" cy="356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4" name="Table 5">
            <a:extLst>
              <a:ext uri="{FF2B5EF4-FFF2-40B4-BE49-F238E27FC236}">
                <a16:creationId xmlns:a16="http://schemas.microsoft.com/office/drawing/2014/main" id="{7D5829DE-5226-41D1-9C38-CF43246675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9928274"/>
              </p:ext>
            </p:extLst>
          </p:nvPr>
        </p:nvGraphicFramePr>
        <p:xfrm>
          <a:off x="2910681" y="4953000"/>
          <a:ext cx="6477000" cy="1230836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619250">
                  <a:extLst>
                    <a:ext uri="{9D8B030D-6E8A-4147-A177-3AD203B41FA5}">
                      <a16:colId xmlns:a16="http://schemas.microsoft.com/office/drawing/2014/main" val="1298981724"/>
                    </a:ext>
                  </a:extLst>
                </a:gridCol>
                <a:gridCol w="1619250">
                  <a:extLst>
                    <a:ext uri="{9D8B030D-6E8A-4147-A177-3AD203B41FA5}">
                      <a16:colId xmlns:a16="http://schemas.microsoft.com/office/drawing/2014/main" val="2686279906"/>
                    </a:ext>
                  </a:extLst>
                </a:gridCol>
                <a:gridCol w="1619250">
                  <a:extLst>
                    <a:ext uri="{9D8B030D-6E8A-4147-A177-3AD203B41FA5}">
                      <a16:colId xmlns:a16="http://schemas.microsoft.com/office/drawing/2014/main" val="3019750773"/>
                    </a:ext>
                  </a:extLst>
                </a:gridCol>
                <a:gridCol w="1619250">
                  <a:extLst>
                    <a:ext uri="{9D8B030D-6E8A-4147-A177-3AD203B41FA5}">
                      <a16:colId xmlns:a16="http://schemas.microsoft.com/office/drawing/2014/main" val="175726477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IN" sz="1350" dirty="0"/>
                        <a:t>Objec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350" dirty="0"/>
                        <a:t>Impressions (M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350" dirty="0"/>
                        <a:t>Spends (US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350" dirty="0"/>
                        <a:t>CPM (US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4158884"/>
                  </a:ext>
                </a:extLst>
              </a:tr>
              <a:tr h="23341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cebook - AOS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,898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3.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735755"/>
                  </a:ext>
                </a:extLst>
              </a:tr>
              <a:tr h="23341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cebook - iOS</a:t>
                      </a: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4</a:t>
                      </a: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,366 </a:t>
                      </a: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.6</a:t>
                      </a: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6134532"/>
                  </a:ext>
                </a:extLst>
              </a:tr>
              <a:tr h="233414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cebook - Other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5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3</a:t>
                      </a:r>
                      <a:endParaRPr lang="en-IN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4438901"/>
                  </a:ext>
                </a:extLst>
              </a:tr>
              <a:tr h="233414"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6,545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.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14305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77292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276</TotalTime>
  <Words>3995</Words>
  <Application>Microsoft Office PowerPoint</Application>
  <PresentationFormat>Custom</PresentationFormat>
  <Paragraphs>1236</Paragraphs>
  <Slides>3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0" baseType="lpstr">
      <vt:lpstr>Arial</vt:lpstr>
      <vt:lpstr>Calibri</vt:lpstr>
      <vt:lpstr>3_Office Theme</vt:lpstr>
      <vt:lpstr>1_Office Theme</vt:lpstr>
      <vt:lpstr>think-cell Slide</vt:lpstr>
      <vt:lpstr>PowerPoint Presentation</vt:lpstr>
      <vt:lpstr>Project Scope</vt:lpstr>
      <vt:lpstr>Business Questions</vt:lpstr>
      <vt:lpstr>Chief Almighty Revenue</vt:lpstr>
      <vt:lpstr>No of Apps Installed</vt:lpstr>
      <vt:lpstr> </vt:lpstr>
      <vt:lpstr>Digital media execution summary</vt:lpstr>
      <vt:lpstr>Facebook by campaign objective</vt:lpstr>
      <vt:lpstr>Facebook by Operating System</vt:lpstr>
      <vt:lpstr>Display Network Impressions</vt:lpstr>
      <vt:lpstr>YouTube Impressions</vt:lpstr>
      <vt:lpstr>Non-Social Display</vt:lpstr>
      <vt:lpstr>Search Impressions(Google)</vt:lpstr>
      <vt:lpstr>Search Impressions(Apple)</vt:lpstr>
      <vt:lpstr>Non-Social Video</vt:lpstr>
      <vt:lpstr>Digital Summary</vt:lpstr>
      <vt:lpstr> </vt:lpstr>
      <vt:lpstr>Competitors Revenue</vt:lpstr>
      <vt:lpstr> </vt:lpstr>
      <vt:lpstr>Game Update Indicator</vt:lpstr>
      <vt:lpstr>Version of the Content</vt:lpstr>
      <vt:lpstr>Important Activities</vt:lpstr>
      <vt:lpstr> </vt:lpstr>
      <vt:lpstr>Residential and Parks (Google Mobility)</vt:lpstr>
      <vt:lpstr>Google Trends data based on Strategy Games Keywords for United States</vt:lpstr>
      <vt:lpstr> </vt:lpstr>
      <vt:lpstr>Unemployment Rate</vt:lpstr>
      <vt:lpstr>GDP</vt:lpstr>
      <vt:lpstr>PowerPoint Presentation</vt:lpstr>
      <vt:lpstr> </vt:lpstr>
      <vt:lpstr>Campaigns Without Mapping</vt:lpstr>
      <vt:lpstr>Update/Events related to the Game</vt:lpstr>
      <vt:lpstr>US Presidential Elections</vt:lpstr>
      <vt:lpstr>Covid Cases</vt:lpstr>
      <vt:lpstr>The Model will consider the drivers in 3 bucke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thi</dc:creator>
  <cp:lastModifiedBy>Kavya Bhat</cp:lastModifiedBy>
  <cp:revision>1280</cp:revision>
  <dcterms:created xsi:type="dcterms:W3CDTF">2016-09-27T16:14:17Z</dcterms:created>
  <dcterms:modified xsi:type="dcterms:W3CDTF">2021-05-05T09:26:11Z</dcterms:modified>
</cp:coreProperties>
</file>